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655" r:id="rId2"/>
  </p:sldMasterIdLst>
  <p:notesMasterIdLst>
    <p:notesMasterId r:id="rId33"/>
  </p:notesMasterIdLst>
  <p:sldIdLst>
    <p:sldId id="428" r:id="rId3"/>
    <p:sldId id="282" r:id="rId4"/>
    <p:sldId id="283" r:id="rId5"/>
    <p:sldId id="256" r:id="rId6"/>
    <p:sldId id="257" r:id="rId7"/>
    <p:sldId id="429" r:id="rId8"/>
    <p:sldId id="258" r:id="rId9"/>
    <p:sldId id="259" r:id="rId10"/>
    <p:sldId id="260" r:id="rId11"/>
    <p:sldId id="430" r:id="rId12"/>
    <p:sldId id="261" r:id="rId13"/>
    <p:sldId id="262" r:id="rId14"/>
    <p:sldId id="263" r:id="rId15"/>
    <p:sldId id="264" r:id="rId16"/>
    <p:sldId id="265" r:id="rId17"/>
    <p:sldId id="266" r:id="rId18"/>
    <p:sldId id="267" r:id="rId19"/>
    <p:sldId id="268" r:id="rId20"/>
    <p:sldId id="269" r:id="rId21"/>
    <p:sldId id="270" r:id="rId22"/>
    <p:sldId id="271" r:id="rId23"/>
    <p:sldId id="272" r:id="rId24"/>
    <p:sldId id="273" r:id="rId25"/>
    <p:sldId id="274" r:id="rId26"/>
    <p:sldId id="275" r:id="rId27"/>
    <p:sldId id="276" r:id="rId28"/>
    <p:sldId id="277" r:id="rId29"/>
    <p:sldId id="278" r:id="rId30"/>
    <p:sldId id="279" r:id="rId31"/>
    <p:sldId id="280" r:id="rId32"/>
  </p:sldIdLst>
  <p:sldSz cx="9144000" cy="6858000" type="screen4x3"/>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4" roundtripDataSignature="AMtx7mh/JSAWFK6gLwtQOe1sMXZaPvnqk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4E0919-03A6-4AE4-9AD3-5D78C8F11558}" v="263" dt="2023-05-09T15:03:08.311"/>
  </p1510:revLst>
</p1510:revInfo>
</file>

<file path=ppt/tableStyles.xml><?xml version="1.0" encoding="utf-8"?>
<a:tblStyleLst xmlns:a="http://schemas.openxmlformats.org/drawingml/2006/main" def="{8D6B96F3-E438-4E6D-BC44-164D725B594E}">
  <a:tblStyle styleId="{8D6B96F3-E438-4E6D-BC44-164D725B594E}"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1528" y="2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microsoft.com/office/2016/11/relationships/changesInfo" Target="changesInfos/changesInfo1.xml"/><Relationship Id="rId21" Type="http://schemas.openxmlformats.org/officeDocument/2006/relationships/slide" Target="slides/slide19.xml"/><Relationship Id="rId34" Type="http://customschemas.google.com/relationships/presentationmetadata" Target="metadata"/><Relationship Id="rId42" Type="http://schemas.openxmlformats.org/officeDocument/2006/relationships/customXml" Target="../customXml/item2.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43" Type="http://schemas.openxmlformats.org/officeDocument/2006/relationships/customXml" Target="../customXml/item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main Riboud" userId="f77cf976-502f-48b7-9ef6-28a7c0a86f4f" providerId="ADAL" clId="{3D4E0919-03A6-4AE4-9AD3-5D78C8F11558}"/>
    <pc:docChg chg="custSel addSld delSld modSld sldOrd">
      <pc:chgData name="Romain Riboud" userId="f77cf976-502f-48b7-9ef6-28a7c0a86f4f" providerId="ADAL" clId="{3D4E0919-03A6-4AE4-9AD3-5D78C8F11558}" dt="2023-05-09T15:27:49.063" v="759" actId="20577"/>
      <pc:docMkLst>
        <pc:docMk/>
      </pc:docMkLst>
      <pc:sldChg chg="modSp add del mod">
        <pc:chgData name="Romain Riboud" userId="f77cf976-502f-48b7-9ef6-28a7c0a86f4f" providerId="ADAL" clId="{3D4E0919-03A6-4AE4-9AD3-5D78C8F11558}" dt="2023-05-09T15:02:35.431" v="734"/>
        <pc:sldMkLst>
          <pc:docMk/>
          <pc:sldMk cId="0" sldId="256"/>
        </pc:sldMkLst>
        <pc:spChg chg="mod">
          <ac:chgData name="Romain Riboud" userId="f77cf976-502f-48b7-9ef6-28a7c0a86f4f" providerId="ADAL" clId="{3D4E0919-03A6-4AE4-9AD3-5D78C8F11558}" dt="2023-05-09T14:47:42.999" v="565" actId="6549"/>
          <ac:spMkLst>
            <pc:docMk/>
            <pc:sldMk cId="0" sldId="256"/>
            <ac:spMk id="60" creationId="{00000000-0000-0000-0000-000000000000}"/>
          </ac:spMkLst>
        </pc:spChg>
      </pc:sldChg>
      <pc:sldChg chg="modSp add del mod">
        <pc:chgData name="Romain Riboud" userId="f77cf976-502f-48b7-9ef6-28a7c0a86f4f" providerId="ADAL" clId="{3D4E0919-03A6-4AE4-9AD3-5D78C8F11558}" dt="2023-05-09T15:27:49.063" v="759" actId="20577"/>
        <pc:sldMkLst>
          <pc:docMk/>
          <pc:sldMk cId="0" sldId="257"/>
        </pc:sldMkLst>
        <pc:spChg chg="mod">
          <ac:chgData name="Romain Riboud" userId="f77cf976-502f-48b7-9ef6-28a7c0a86f4f" providerId="ADAL" clId="{3D4E0919-03A6-4AE4-9AD3-5D78C8F11558}" dt="2023-05-09T15:27:49.063" v="759" actId="20577"/>
          <ac:spMkLst>
            <pc:docMk/>
            <pc:sldMk cId="0" sldId="257"/>
            <ac:spMk id="70" creationId="{00000000-0000-0000-0000-000000000000}"/>
          </ac:spMkLst>
        </pc:spChg>
        <pc:spChg chg="mod">
          <ac:chgData name="Romain Riboud" userId="f77cf976-502f-48b7-9ef6-28a7c0a86f4f" providerId="ADAL" clId="{3D4E0919-03A6-4AE4-9AD3-5D78C8F11558}" dt="2023-05-09T14:51:26.181" v="726" actId="1076"/>
          <ac:spMkLst>
            <pc:docMk/>
            <pc:sldMk cId="0" sldId="257"/>
            <ac:spMk id="71" creationId="{00000000-0000-0000-0000-000000000000}"/>
          </ac:spMkLst>
        </pc:spChg>
      </pc:sldChg>
      <pc:sldChg chg="add del">
        <pc:chgData name="Romain Riboud" userId="f77cf976-502f-48b7-9ef6-28a7c0a86f4f" providerId="ADAL" clId="{3D4E0919-03A6-4AE4-9AD3-5D78C8F11558}" dt="2023-05-09T15:02:35.431" v="734"/>
        <pc:sldMkLst>
          <pc:docMk/>
          <pc:sldMk cId="0" sldId="258"/>
        </pc:sldMkLst>
      </pc:sldChg>
      <pc:sldChg chg="add del">
        <pc:chgData name="Romain Riboud" userId="f77cf976-502f-48b7-9ef6-28a7c0a86f4f" providerId="ADAL" clId="{3D4E0919-03A6-4AE4-9AD3-5D78C8F11558}" dt="2023-05-09T15:02:35.431" v="734"/>
        <pc:sldMkLst>
          <pc:docMk/>
          <pc:sldMk cId="0" sldId="259"/>
        </pc:sldMkLst>
      </pc:sldChg>
      <pc:sldChg chg="add del">
        <pc:chgData name="Romain Riboud" userId="f77cf976-502f-48b7-9ef6-28a7c0a86f4f" providerId="ADAL" clId="{3D4E0919-03A6-4AE4-9AD3-5D78C8F11558}" dt="2023-05-09T15:02:35.431" v="734"/>
        <pc:sldMkLst>
          <pc:docMk/>
          <pc:sldMk cId="0" sldId="260"/>
        </pc:sldMkLst>
      </pc:sldChg>
      <pc:sldChg chg="add del">
        <pc:chgData name="Romain Riboud" userId="f77cf976-502f-48b7-9ef6-28a7c0a86f4f" providerId="ADAL" clId="{3D4E0919-03A6-4AE4-9AD3-5D78C8F11558}" dt="2023-05-09T15:02:35.431" v="734"/>
        <pc:sldMkLst>
          <pc:docMk/>
          <pc:sldMk cId="0" sldId="261"/>
        </pc:sldMkLst>
      </pc:sldChg>
      <pc:sldChg chg="add del">
        <pc:chgData name="Romain Riboud" userId="f77cf976-502f-48b7-9ef6-28a7c0a86f4f" providerId="ADAL" clId="{3D4E0919-03A6-4AE4-9AD3-5D78C8F11558}" dt="2023-05-09T15:02:35.431" v="734"/>
        <pc:sldMkLst>
          <pc:docMk/>
          <pc:sldMk cId="0" sldId="262"/>
        </pc:sldMkLst>
      </pc:sldChg>
      <pc:sldChg chg="add del">
        <pc:chgData name="Romain Riboud" userId="f77cf976-502f-48b7-9ef6-28a7c0a86f4f" providerId="ADAL" clId="{3D4E0919-03A6-4AE4-9AD3-5D78C8F11558}" dt="2023-05-09T15:02:35.431" v="734"/>
        <pc:sldMkLst>
          <pc:docMk/>
          <pc:sldMk cId="0" sldId="263"/>
        </pc:sldMkLst>
      </pc:sldChg>
      <pc:sldChg chg="add del">
        <pc:chgData name="Romain Riboud" userId="f77cf976-502f-48b7-9ef6-28a7c0a86f4f" providerId="ADAL" clId="{3D4E0919-03A6-4AE4-9AD3-5D78C8F11558}" dt="2023-05-09T15:02:35.431" v="734"/>
        <pc:sldMkLst>
          <pc:docMk/>
          <pc:sldMk cId="0" sldId="264"/>
        </pc:sldMkLst>
      </pc:sldChg>
      <pc:sldChg chg="add del">
        <pc:chgData name="Romain Riboud" userId="f77cf976-502f-48b7-9ef6-28a7c0a86f4f" providerId="ADAL" clId="{3D4E0919-03A6-4AE4-9AD3-5D78C8F11558}" dt="2023-05-09T15:02:35.431" v="734"/>
        <pc:sldMkLst>
          <pc:docMk/>
          <pc:sldMk cId="0" sldId="265"/>
        </pc:sldMkLst>
      </pc:sldChg>
      <pc:sldChg chg="add del">
        <pc:chgData name="Romain Riboud" userId="f77cf976-502f-48b7-9ef6-28a7c0a86f4f" providerId="ADAL" clId="{3D4E0919-03A6-4AE4-9AD3-5D78C8F11558}" dt="2023-05-09T15:02:35.431" v="734"/>
        <pc:sldMkLst>
          <pc:docMk/>
          <pc:sldMk cId="0" sldId="266"/>
        </pc:sldMkLst>
      </pc:sldChg>
      <pc:sldChg chg="add del">
        <pc:chgData name="Romain Riboud" userId="f77cf976-502f-48b7-9ef6-28a7c0a86f4f" providerId="ADAL" clId="{3D4E0919-03A6-4AE4-9AD3-5D78C8F11558}" dt="2023-05-09T15:02:35.431" v="734"/>
        <pc:sldMkLst>
          <pc:docMk/>
          <pc:sldMk cId="0" sldId="267"/>
        </pc:sldMkLst>
      </pc:sldChg>
      <pc:sldChg chg="add del">
        <pc:chgData name="Romain Riboud" userId="f77cf976-502f-48b7-9ef6-28a7c0a86f4f" providerId="ADAL" clId="{3D4E0919-03A6-4AE4-9AD3-5D78C8F11558}" dt="2023-05-09T15:02:35.431" v="734"/>
        <pc:sldMkLst>
          <pc:docMk/>
          <pc:sldMk cId="0" sldId="268"/>
        </pc:sldMkLst>
      </pc:sldChg>
      <pc:sldChg chg="add del">
        <pc:chgData name="Romain Riboud" userId="f77cf976-502f-48b7-9ef6-28a7c0a86f4f" providerId="ADAL" clId="{3D4E0919-03A6-4AE4-9AD3-5D78C8F11558}" dt="2023-05-09T15:02:35.431" v="734"/>
        <pc:sldMkLst>
          <pc:docMk/>
          <pc:sldMk cId="0" sldId="269"/>
        </pc:sldMkLst>
      </pc:sldChg>
      <pc:sldChg chg="add del">
        <pc:chgData name="Romain Riboud" userId="f77cf976-502f-48b7-9ef6-28a7c0a86f4f" providerId="ADAL" clId="{3D4E0919-03A6-4AE4-9AD3-5D78C8F11558}" dt="2023-05-09T15:02:35.431" v="734"/>
        <pc:sldMkLst>
          <pc:docMk/>
          <pc:sldMk cId="0" sldId="270"/>
        </pc:sldMkLst>
      </pc:sldChg>
      <pc:sldChg chg="add del">
        <pc:chgData name="Romain Riboud" userId="f77cf976-502f-48b7-9ef6-28a7c0a86f4f" providerId="ADAL" clId="{3D4E0919-03A6-4AE4-9AD3-5D78C8F11558}" dt="2023-05-09T15:02:35.431" v="734"/>
        <pc:sldMkLst>
          <pc:docMk/>
          <pc:sldMk cId="0" sldId="271"/>
        </pc:sldMkLst>
      </pc:sldChg>
      <pc:sldChg chg="add del">
        <pc:chgData name="Romain Riboud" userId="f77cf976-502f-48b7-9ef6-28a7c0a86f4f" providerId="ADAL" clId="{3D4E0919-03A6-4AE4-9AD3-5D78C8F11558}" dt="2023-05-09T15:02:35.431" v="734"/>
        <pc:sldMkLst>
          <pc:docMk/>
          <pc:sldMk cId="0" sldId="272"/>
        </pc:sldMkLst>
      </pc:sldChg>
      <pc:sldChg chg="add del">
        <pc:chgData name="Romain Riboud" userId="f77cf976-502f-48b7-9ef6-28a7c0a86f4f" providerId="ADAL" clId="{3D4E0919-03A6-4AE4-9AD3-5D78C8F11558}" dt="2023-05-09T15:02:35.431" v="734"/>
        <pc:sldMkLst>
          <pc:docMk/>
          <pc:sldMk cId="0" sldId="273"/>
        </pc:sldMkLst>
      </pc:sldChg>
      <pc:sldChg chg="add del">
        <pc:chgData name="Romain Riboud" userId="f77cf976-502f-48b7-9ef6-28a7c0a86f4f" providerId="ADAL" clId="{3D4E0919-03A6-4AE4-9AD3-5D78C8F11558}" dt="2023-05-09T15:02:35.431" v="734"/>
        <pc:sldMkLst>
          <pc:docMk/>
          <pc:sldMk cId="0" sldId="274"/>
        </pc:sldMkLst>
      </pc:sldChg>
      <pc:sldChg chg="add del">
        <pc:chgData name="Romain Riboud" userId="f77cf976-502f-48b7-9ef6-28a7c0a86f4f" providerId="ADAL" clId="{3D4E0919-03A6-4AE4-9AD3-5D78C8F11558}" dt="2023-05-09T15:02:35.431" v="734"/>
        <pc:sldMkLst>
          <pc:docMk/>
          <pc:sldMk cId="0" sldId="275"/>
        </pc:sldMkLst>
      </pc:sldChg>
      <pc:sldChg chg="add del">
        <pc:chgData name="Romain Riboud" userId="f77cf976-502f-48b7-9ef6-28a7c0a86f4f" providerId="ADAL" clId="{3D4E0919-03A6-4AE4-9AD3-5D78C8F11558}" dt="2023-05-09T15:02:35.431" v="734"/>
        <pc:sldMkLst>
          <pc:docMk/>
          <pc:sldMk cId="0" sldId="276"/>
        </pc:sldMkLst>
      </pc:sldChg>
      <pc:sldChg chg="add del">
        <pc:chgData name="Romain Riboud" userId="f77cf976-502f-48b7-9ef6-28a7c0a86f4f" providerId="ADAL" clId="{3D4E0919-03A6-4AE4-9AD3-5D78C8F11558}" dt="2023-05-09T15:02:35.431" v="734"/>
        <pc:sldMkLst>
          <pc:docMk/>
          <pc:sldMk cId="0" sldId="277"/>
        </pc:sldMkLst>
      </pc:sldChg>
      <pc:sldChg chg="add del">
        <pc:chgData name="Romain Riboud" userId="f77cf976-502f-48b7-9ef6-28a7c0a86f4f" providerId="ADAL" clId="{3D4E0919-03A6-4AE4-9AD3-5D78C8F11558}" dt="2023-05-09T15:02:35.431" v="734"/>
        <pc:sldMkLst>
          <pc:docMk/>
          <pc:sldMk cId="0" sldId="278"/>
        </pc:sldMkLst>
      </pc:sldChg>
      <pc:sldChg chg="add del">
        <pc:chgData name="Romain Riboud" userId="f77cf976-502f-48b7-9ef6-28a7c0a86f4f" providerId="ADAL" clId="{3D4E0919-03A6-4AE4-9AD3-5D78C8F11558}" dt="2023-05-09T15:02:35.431" v="734"/>
        <pc:sldMkLst>
          <pc:docMk/>
          <pc:sldMk cId="0" sldId="279"/>
        </pc:sldMkLst>
      </pc:sldChg>
      <pc:sldChg chg="add del">
        <pc:chgData name="Romain Riboud" userId="f77cf976-502f-48b7-9ef6-28a7c0a86f4f" providerId="ADAL" clId="{3D4E0919-03A6-4AE4-9AD3-5D78C8F11558}" dt="2023-05-09T15:02:35.431" v="734"/>
        <pc:sldMkLst>
          <pc:docMk/>
          <pc:sldMk cId="0" sldId="280"/>
        </pc:sldMkLst>
      </pc:sldChg>
      <pc:sldChg chg="modSp add del mod">
        <pc:chgData name="Romain Riboud" userId="f77cf976-502f-48b7-9ef6-28a7c0a86f4f" providerId="ADAL" clId="{3D4E0919-03A6-4AE4-9AD3-5D78C8F11558}" dt="2023-05-09T15:02:05.596" v="731" actId="47"/>
        <pc:sldMkLst>
          <pc:docMk/>
          <pc:sldMk cId="2422452122" sldId="281"/>
        </pc:sldMkLst>
        <pc:spChg chg="mod">
          <ac:chgData name="Romain Riboud" userId="f77cf976-502f-48b7-9ef6-28a7c0a86f4f" providerId="ADAL" clId="{3D4E0919-03A6-4AE4-9AD3-5D78C8F11558}" dt="2023-05-09T14:31:54.422" v="86" actId="6549"/>
          <ac:spMkLst>
            <pc:docMk/>
            <pc:sldMk cId="2422452122" sldId="281"/>
            <ac:spMk id="3" creationId="{00000000-0000-0000-0000-000000000000}"/>
          </ac:spMkLst>
        </pc:spChg>
      </pc:sldChg>
      <pc:sldChg chg="modSp add del mod">
        <pc:chgData name="Romain Riboud" userId="f77cf976-502f-48b7-9ef6-28a7c0a86f4f" providerId="ADAL" clId="{3D4E0919-03A6-4AE4-9AD3-5D78C8F11558}" dt="2023-05-09T15:02:35.431" v="734"/>
        <pc:sldMkLst>
          <pc:docMk/>
          <pc:sldMk cId="3293723720" sldId="282"/>
        </pc:sldMkLst>
        <pc:spChg chg="mod">
          <ac:chgData name="Romain Riboud" userId="f77cf976-502f-48b7-9ef6-28a7c0a86f4f" providerId="ADAL" clId="{3D4E0919-03A6-4AE4-9AD3-5D78C8F11558}" dt="2023-05-09T14:34:05.299" v="280" actId="20577"/>
          <ac:spMkLst>
            <pc:docMk/>
            <pc:sldMk cId="3293723720" sldId="282"/>
            <ac:spMk id="5" creationId="{F661A0BF-9455-5A10-1416-D15855A3A2FC}"/>
          </ac:spMkLst>
        </pc:spChg>
        <pc:spChg chg="mod">
          <ac:chgData name="Romain Riboud" userId="f77cf976-502f-48b7-9ef6-28a7c0a86f4f" providerId="ADAL" clId="{3D4E0919-03A6-4AE4-9AD3-5D78C8F11558}" dt="2023-05-09T14:32:13.705" v="96" actId="20577"/>
          <ac:spMkLst>
            <pc:docMk/>
            <pc:sldMk cId="3293723720" sldId="282"/>
            <ac:spMk id="7" creationId="{00000000-0000-0000-0000-000000000000}"/>
          </ac:spMkLst>
        </pc:spChg>
      </pc:sldChg>
      <pc:sldChg chg="addSp delSp modSp add del mod">
        <pc:chgData name="Romain Riboud" userId="f77cf976-502f-48b7-9ef6-28a7c0a86f4f" providerId="ADAL" clId="{3D4E0919-03A6-4AE4-9AD3-5D78C8F11558}" dt="2023-05-09T15:02:35.431" v="734"/>
        <pc:sldMkLst>
          <pc:docMk/>
          <pc:sldMk cId="896568980" sldId="283"/>
        </pc:sldMkLst>
        <pc:spChg chg="del">
          <ac:chgData name="Romain Riboud" userId="f77cf976-502f-48b7-9ef6-28a7c0a86f4f" providerId="ADAL" clId="{3D4E0919-03A6-4AE4-9AD3-5D78C8F11558}" dt="2023-05-09T14:39:07.451" v="303" actId="478"/>
          <ac:spMkLst>
            <pc:docMk/>
            <pc:sldMk cId="896568980" sldId="283"/>
            <ac:spMk id="5" creationId="{F661A0BF-9455-5A10-1416-D15855A3A2FC}"/>
          </ac:spMkLst>
        </pc:spChg>
        <pc:spChg chg="mod">
          <ac:chgData name="Romain Riboud" userId="f77cf976-502f-48b7-9ef6-28a7c0a86f4f" providerId="ADAL" clId="{3D4E0919-03A6-4AE4-9AD3-5D78C8F11558}" dt="2023-05-09T14:38:36.731" v="302" actId="20577"/>
          <ac:spMkLst>
            <pc:docMk/>
            <pc:sldMk cId="896568980" sldId="283"/>
            <ac:spMk id="7" creationId="{00000000-0000-0000-0000-000000000000}"/>
          </ac:spMkLst>
        </pc:spChg>
        <pc:graphicFrameChg chg="add mod modGraphic">
          <ac:chgData name="Romain Riboud" userId="f77cf976-502f-48b7-9ef6-28a7c0a86f4f" providerId="ADAL" clId="{3D4E0919-03A6-4AE4-9AD3-5D78C8F11558}" dt="2023-05-09T14:47:31.202" v="564" actId="14100"/>
          <ac:graphicFrameMkLst>
            <pc:docMk/>
            <pc:sldMk cId="896568980" sldId="283"/>
            <ac:graphicFrameMk id="2" creationId="{35622F5F-48C0-8412-B28E-21411BB1D90E}"/>
          </ac:graphicFrameMkLst>
        </pc:graphicFrameChg>
      </pc:sldChg>
      <pc:sldChg chg="addSp modSp add del mod ord modClrScheme chgLayout">
        <pc:chgData name="Romain Riboud" userId="f77cf976-502f-48b7-9ef6-28a7c0a86f4f" providerId="ADAL" clId="{3D4E0919-03A6-4AE4-9AD3-5D78C8F11558}" dt="2023-05-09T15:02:05.596" v="731" actId="47"/>
        <pc:sldMkLst>
          <pc:docMk/>
          <pc:sldMk cId="1263684914" sldId="284"/>
        </pc:sldMkLst>
        <pc:spChg chg="add mod ord">
          <ac:chgData name="Romain Riboud" userId="f77cf976-502f-48b7-9ef6-28a7c0a86f4f" providerId="ADAL" clId="{3D4E0919-03A6-4AE4-9AD3-5D78C8F11558}" dt="2023-05-09T14:51:56.054" v="730" actId="700"/>
          <ac:spMkLst>
            <pc:docMk/>
            <pc:sldMk cId="1263684914" sldId="284"/>
            <ac:spMk id="2" creationId="{D84408B2-8961-EB56-79F0-0CB0F29120C1}"/>
          </ac:spMkLst>
        </pc:spChg>
        <pc:spChg chg="add mod ord">
          <ac:chgData name="Romain Riboud" userId="f77cf976-502f-48b7-9ef6-28a7c0a86f4f" providerId="ADAL" clId="{3D4E0919-03A6-4AE4-9AD3-5D78C8F11558}" dt="2023-05-09T14:51:56.054" v="730" actId="700"/>
          <ac:spMkLst>
            <pc:docMk/>
            <pc:sldMk cId="1263684914" sldId="284"/>
            <ac:spMk id="3" creationId="{AA62832F-9B12-42E1-7CDF-AB58244F09F0}"/>
          </ac:spMkLst>
        </pc:spChg>
      </pc:sldChg>
      <pc:sldChg chg="add del">
        <pc:chgData name="Romain Riboud" userId="f77cf976-502f-48b7-9ef6-28a7c0a86f4f" providerId="ADAL" clId="{3D4E0919-03A6-4AE4-9AD3-5D78C8F11558}" dt="2023-05-09T15:02:35.431" v="734"/>
        <pc:sldMkLst>
          <pc:docMk/>
          <pc:sldMk cId="2886987056" sldId="428"/>
        </pc:sldMkLst>
      </pc:sldChg>
      <pc:sldChg chg="add del">
        <pc:chgData name="Romain Riboud" userId="f77cf976-502f-48b7-9ef6-28a7c0a86f4f" providerId="ADAL" clId="{3D4E0919-03A6-4AE4-9AD3-5D78C8F11558}" dt="2023-05-09T15:02:35.431" v="734"/>
        <pc:sldMkLst>
          <pc:docMk/>
          <pc:sldMk cId="1524835777" sldId="429"/>
        </pc:sldMkLst>
      </pc:sldChg>
      <pc:sldChg chg="modSp add mod">
        <pc:chgData name="Romain Riboud" userId="f77cf976-502f-48b7-9ef6-28a7c0a86f4f" providerId="ADAL" clId="{3D4E0919-03A6-4AE4-9AD3-5D78C8F11558}" dt="2023-05-09T15:03:19.118" v="751" actId="20577"/>
        <pc:sldMkLst>
          <pc:docMk/>
          <pc:sldMk cId="2584529088" sldId="430"/>
        </pc:sldMkLst>
        <pc:spChg chg="mod">
          <ac:chgData name="Romain Riboud" userId="f77cf976-502f-48b7-9ef6-28a7c0a86f4f" providerId="ADAL" clId="{3D4E0919-03A6-4AE4-9AD3-5D78C8F11558}" dt="2023-05-09T15:03:19.118" v="751" actId="20577"/>
          <ac:spMkLst>
            <pc:docMk/>
            <pc:sldMk cId="2584529088" sldId="430"/>
            <ac:spMk id="2" creationId="{B57D11D7-F8C6-EBBC-2B4F-FD7737322B4F}"/>
          </ac:spMkLst>
        </pc:spChg>
      </pc:sldChg>
      <pc:sldMasterChg chg="delSldLayout">
        <pc:chgData name="Romain Riboud" userId="f77cf976-502f-48b7-9ef6-28a7c0a86f4f" providerId="ADAL" clId="{3D4E0919-03A6-4AE4-9AD3-5D78C8F11558}" dt="2023-05-09T15:02:05.596" v="731" actId="47"/>
        <pc:sldMasterMkLst>
          <pc:docMk/>
          <pc:sldMasterMk cId="0" sldId="2147483648"/>
        </pc:sldMasterMkLst>
        <pc:sldLayoutChg chg="del">
          <pc:chgData name="Romain Riboud" userId="f77cf976-502f-48b7-9ef6-28a7c0a86f4f" providerId="ADAL" clId="{3D4E0919-03A6-4AE4-9AD3-5D78C8F11558}" dt="2023-05-09T15:02:05.596" v="731" actId="47"/>
          <pc:sldLayoutMkLst>
            <pc:docMk/>
            <pc:sldMasterMk cId="0" sldId="2147483648"/>
            <pc:sldLayoutMk cId="0" sldId="2147483649"/>
          </pc:sldLayoutMkLst>
        </pc:sldLayoutChg>
        <pc:sldLayoutChg chg="del">
          <pc:chgData name="Romain Riboud" userId="f77cf976-502f-48b7-9ef6-28a7c0a86f4f" providerId="ADAL" clId="{3D4E0919-03A6-4AE4-9AD3-5D78C8F11558}" dt="2023-05-09T15:02:05.596" v="731" actId="47"/>
          <pc:sldLayoutMkLst>
            <pc:docMk/>
            <pc:sldMasterMk cId="0" sldId="2147483648"/>
            <pc:sldLayoutMk cId="0" sldId="2147483651"/>
          </pc:sldLayoutMkLst>
        </pc:sldLayoutChg>
        <pc:sldLayoutChg chg="del">
          <pc:chgData name="Romain Riboud" userId="f77cf976-502f-48b7-9ef6-28a7c0a86f4f" providerId="ADAL" clId="{3D4E0919-03A6-4AE4-9AD3-5D78C8F11558}" dt="2023-05-09T15:02:05.596" v="731" actId="47"/>
          <pc:sldLayoutMkLst>
            <pc:docMk/>
            <pc:sldMasterMk cId="0" sldId="2147483648"/>
            <pc:sldLayoutMk cId="3517399480" sldId="2147483655"/>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DC0443-0F67-4ADF-AFFF-09A21DFCF42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fr-FR"/>
        </a:p>
      </dgm:t>
    </dgm:pt>
    <dgm:pt modelId="{0F25745D-F830-44EB-9D7F-BE6273EB6A64}">
      <dgm:prSet phldrT="[Texte]"/>
      <dgm:spPr/>
      <dgm:t>
        <a:bodyPr/>
        <a:lstStyle/>
        <a:p>
          <a:r>
            <a:rPr lang="en-GB" noProof="0" dirty="0"/>
            <a:t>6/12/22</a:t>
          </a:r>
        </a:p>
      </dgm:t>
    </dgm:pt>
    <dgm:pt modelId="{1C3361D4-7FAC-48D8-BF75-E8CAE1508DFC}" type="parTrans" cxnId="{0050CDCF-E7F5-4FB4-84CD-EFB227C59FE1}">
      <dgm:prSet/>
      <dgm:spPr/>
      <dgm:t>
        <a:bodyPr/>
        <a:lstStyle/>
        <a:p>
          <a:endParaRPr lang="en-GB" noProof="0" dirty="0"/>
        </a:p>
      </dgm:t>
    </dgm:pt>
    <dgm:pt modelId="{967119CF-6891-4BC9-9CFB-56A71C7608E9}" type="sibTrans" cxnId="{0050CDCF-E7F5-4FB4-84CD-EFB227C59FE1}">
      <dgm:prSet/>
      <dgm:spPr/>
      <dgm:t>
        <a:bodyPr/>
        <a:lstStyle/>
        <a:p>
          <a:endParaRPr lang="en-GB" noProof="0" dirty="0"/>
        </a:p>
      </dgm:t>
    </dgm:pt>
    <dgm:pt modelId="{013E60F7-0759-4CF3-8D06-57A952A524DC}">
      <dgm:prSet phldrT="[Texte]" custT="1"/>
      <dgm:spPr/>
      <dgm:t>
        <a:bodyPr/>
        <a:lstStyle/>
        <a:p>
          <a:r>
            <a:rPr lang="en-GB" sz="1200" noProof="0" dirty="0"/>
            <a:t>Systematic Revue Ballot closed</a:t>
          </a:r>
        </a:p>
      </dgm:t>
    </dgm:pt>
    <dgm:pt modelId="{32DF8FC2-3CD8-4C0B-ADB2-0D8B4FFF5348}" type="parTrans" cxnId="{FE1804A7-5929-4B8D-9049-6585F80D0B77}">
      <dgm:prSet/>
      <dgm:spPr/>
      <dgm:t>
        <a:bodyPr/>
        <a:lstStyle/>
        <a:p>
          <a:endParaRPr lang="en-GB" noProof="0" dirty="0"/>
        </a:p>
      </dgm:t>
    </dgm:pt>
    <dgm:pt modelId="{B3A1D450-3224-4B16-8EE7-FD63D6818606}" type="sibTrans" cxnId="{FE1804A7-5929-4B8D-9049-6585F80D0B77}">
      <dgm:prSet/>
      <dgm:spPr/>
      <dgm:t>
        <a:bodyPr/>
        <a:lstStyle/>
        <a:p>
          <a:endParaRPr lang="en-GB" noProof="0" dirty="0"/>
        </a:p>
      </dgm:t>
    </dgm:pt>
    <dgm:pt modelId="{36065924-8A08-49E7-93B5-940CE3B71DB4}">
      <dgm:prSet phldrT="[Texte]"/>
      <dgm:spPr/>
      <dgm:t>
        <a:bodyPr/>
        <a:lstStyle/>
        <a:p>
          <a:r>
            <a:rPr lang="en-GB" noProof="0" dirty="0"/>
            <a:t>6/12/22-06/03/23</a:t>
          </a:r>
        </a:p>
      </dgm:t>
    </dgm:pt>
    <dgm:pt modelId="{7A9CB8F1-B129-48C7-AF4D-FADB75A9A15A}" type="parTrans" cxnId="{DC195D31-4977-460E-8BA3-B144F3ADEF01}">
      <dgm:prSet/>
      <dgm:spPr/>
      <dgm:t>
        <a:bodyPr/>
        <a:lstStyle/>
        <a:p>
          <a:endParaRPr lang="en-GB" noProof="0" dirty="0"/>
        </a:p>
      </dgm:t>
    </dgm:pt>
    <dgm:pt modelId="{3A1E2ECA-3E10-4D48-875F-D8CC994A0866}" type="sibTrans" cxnId="{DC195D31-4977-460E-8BA3-B144F3ADEF01}">
      <dgm:prSet/>
      <dgm:spPr/>
      <dgm:t>
        <a:bodyPr/>
        <a:lstStyle/>
        <a:p>
          <a:endParaRPr lang="en-GB" noProof="0" dirty="0"/>
        </a:p>
      </dgm:t>
    </dgm:pt>
    <dgm:pt modelId="{A9FA3A09-3C84-46E0-9FFB-C2EF63665F08}">
      <dgm:prSet phldrT="[Texte]"/>
      <dgm:spPr/>
      <dgm:t>
        <a:bodyPr/>
        <a:lstStyle/>
        <a:p>
          <a:r>
            <a:rPr lang="en-GB" noProof="0" dirty="0"/>
            <a:t>Preparation work UK/FR to build a first WD based on 3 axis</a:t>
          </a:r>
        </a:p>
      </dgm:t>
    </dgm:pt>
    <dgm:pt modelId="{81EE1B29-E3E3-4683-A085-6D6BC1C91281}" type="parTrans" cxnId="{CEEE3225-D4E9-41DE-875E-79EF735434B3}">
      <dgm:prSet/>
      <dgm:spPr/>
      <dgm:t>
        <a:bodyPr/>
        <a:lstStyle/>
        <a:p>
          <a:endParaRPr lang="en-GB" noProof="0" dirty="0"/>
        </a:p>
      </dgm:t>
    </dgm:pt>
    <dgm:pt modelId="{30E3AD8D-2A35-4F87-AD9D-854EC1BF7D03}" type="sibTrans" cxnId="{CEEE3225-D4E9-41DE-875E-79EF735434B3}">
      <dgm:prSet/>
      <dgm:spPr/>
      <dgm:t>
        <a:bodyPr/>
        <a:lstStyle/>
        <a:p>
          <a:endParaRPr lang="en-GB" noProof="0" dirty="0"/>
        </a:p>
      </dgm:t>
    </dgm:pt>
    <dgm:pt modelId="{595FD72D-B1A3-4E15-8BB1-C4980916C86A}">
      <dgm:prSet phldrT="[Texte]"/>
      <dgm:spPr/>
      <dgm:t>
        <a:bodyPr/>
        <a:lstStyle/>
        <a:p>
          <a:r>
            <a:rPr lang="en-GB" noProof="0" dirty="0"/>
            <a:t>2 May 23 </a:t>
          </a:r>
        </a:p>
      </dgm:t>
    </dgm:pt>
    <dgm:pt modelId="{61714164-DDE7-4A25-8121-0A4FFD527D45}" type="parTrans" cxnId="{16104392-8D5A-496C-8DD1-33391360C4FB}">
      <dgm:prSet/>
      <dgm:spPr/>
      <dgm:t>
        <a:bodyPr/>
        <a:lstStyle/>
        <a:p>
          <a:endParaRPr lang="en-GB" noProof="0" dirty="0"/>
        </a:p>
      </dgm:t>
    </dgm:pt>
    <dgm:pt modelId="{C125806B-7F34-4464-99BB-C4596B7BBA4C}" type="sibTrans" cxnId="{16104392-8D5A-496C-8DD1-33391360C4FB}">
      <dgm:prSet/>
      <dgm:spPr/>
      <dgm:t>
        <a:bodyPr/>
        <a:lstStyle/>
        <a:p>
          <a:endParaRPr lang="en-GB" noProof="0" dirty="0"/>
        </a:p>
      </dgm:t>
    </dgm:pt>
    <dgm:pt modelId="{0EE594DF-5F4D-402A-8372-EE211E0C21C5}">
      <dgm:prSet phldrT="[Texte]"/>
      <dgm:spPr/>
      <dgm:t>
        <a:bodyPr/>
        <a:lstStyle/>
        <a:p>
          <a:r>
            <a:rPr lang="en-GB" noProof="0" dirty="0"/>
            <a:t>DIS ballot</a:t>
          </a:r>
        </a:p>
      </dgm:t>
    </dgm:pt>
    <dgm:pt modelId="{29371713-6602-4676-A52F-236C77E75060}" type="parTrans" cxnId="{65D628D8-5CCA-40E2-AD1E-E346BD8D2561}">
      <dgm:prSet/>
      <dgm:spPr/>
      <dgm:t>
        <a:bodyPr/>
        <a:lstStyle/>
        <a:p>
          <a:endParaRPr lang="en-GB" noProof="0" dirty="0"/>
        </a:p>
      </dgm:t>
    </dgm:pt>
    <dgm:pt modelId="{BB9A0697-CE0E-4614-8633-27318E61B27B}" type="sibTrans" cxnId="{65D628D8-5CCA-40E2-AD1E-E346BD8D2561}">
      <dgm:prSet/>
      <dgm:spPr/>
      <dgm:t>
        <a:bodyPr/>
        <a:lstStyle/>
        <a:p>
          <a:endParaRPr lang="en-GB" noProof="0" dirty="0"/>
        </a:p>
      </dgm:t>
    </dgm:pt>
    <dgm:pt modelId="{080F5884-B261-407B-89FC-AAC9B1B9D5EA}">
      <dgm:prSet phldrT="[Texte]"/>
      <dgm:spPr/>
      <dgm:t>
        <a:bodyPr/>
        <a:lstStyle/>
        <a:p>
          <a:r>
            <a:rPr lang="en-GB" noProof="0" dirty="0"/>
            <a:t>6 to 31 March 23</a:t>
          </a:r>
        </a:p>
      </dgm:t>
    </dgm:pt>
    <dgm:pt modelId="{63411739-6A38-4D5C-BB9A-B4C164416972}" type="parTrans" cxnId="{73ED0B92-306A-449F-B433-C39463C22C8D}">
      <dgm:prSet/>
      <dgm:spPr/>
      <dgm:t>
        <a:bodyPr/>
        <a:lstStyle/>
        <a:p>
          <a:endParaRPr lang="en-GB" noProof="0" dirty="0"/>
        </a:p>
      </dgm:t>
    </dgm:pt>
    <dgm:pt modelId="{6CF1D68B-AA62-4CF3-8335-C0E26271BB22}" type="sibTrans" cxnId="{73ED0B92-306A-449F-B433-C39463C22C8D}">
      <dgm:prSet/>
      <dgm:spPr/>
      <dgm:t>
        <a:bodyPr/>
        <a:lstStyle/>
        <a:p>
          <a:endParaRPr lang="en-GB" noProof="0" dirty="0"/>
        </a:p>
      </dgm:t>
    </dgm:pt>
    <dgm:pt modelId="{EBDF69C5-4806-4F6E-8A67-8DFFE3954914}">
      <dgm:prSet phldrT="[Texte]"/>
      <dgm:spPr/>
      <dgm:t>
        <a:bodyPr/>
        <a:lstStyle/>
        <a:p>
          <a:r>
            <a:rPr lang="en-GB" noProof="0" dirty="0"/>
            <a:t>WG meeting to collectively finalize the WD </a:t>
          </a:r>
        </a:p>
      </dgm:t>
    </dgm:pt>
    <dgm:pt modelId="{CC8A55FD-E57A-4521-9DB0-7C36C97B51FD}" type="parTrans" cxnId="{3660D9FF-085A-4143-A3CD-66F8A58B7A62}">
      <dgm:prSet/>
      <dgm:spPr/>
      <dgm:t>
        <a:bodyPr/>
        <a:lstStyle/>
        <a:p>
          <a:endParaRPr lang="en-GB" noProof="0" dirty="0"/>
        </a:p>
      </dgm:t>
    </dgm:pt>
    <dgm:pt modelId="{FA356AE3-806D-4C48-B437-83845E3B0AD7}" type="sibTrans" cxnId="{3660D9FF-085A-4143-A3CD-66F8A58B7A62}">
      <dgm:prSet/>
      <dgm:spPr/>
      <dgm:t>
        <a:bodyPr/>
        <a:lstStyle/>
        <a:p>
          <a:endParaRPr lang="en-GB" noProof="0" dirty="0"/>
        </a:p>
      </dgm:t>
    </dgm:pt>
    <dgm:pt modelId="{355CA321-090D-45F6-8071-9A12A0522AE8}" type="pres">
      <dgm:prSet presAssocID="{0DDC0443-0F67-4ADF-AFFF-09A21DFCF421}" presName="linearFlow" presStyleCnt="0">
        <dgm:presLayoutVars>
          <dgm:dir/>
          <dgm:animLvl val="lvl"/>
          <dgm:resizeHandles val="exact"/>
        </dgm:presLayoutVars>
      </dgm:prSet>
      <dgm:spPr/>
    </dgm:pt>
    <dgm:pt modelId="{570C4264-0C9D-4868-B177-93534C178281}" type="pres">
      <dgm:prSet presAssocID="{0F25745D-F830-44EB-9D7F-BE6273EB6A64}" presName="composite" presStyleCnt="0"/>
      <dgm:spPr/>
    </dgm:pt>
    <dgm:pt modelId="{21ED70B8-0251-4FDA-BB5A-2C48FEBEDBBF}" type="pres">
      <dgm:prSet presAssocID="{0F25745D-F830-44EB-9D7F-BE6273EB6A64}" presName="parTx" presStyleLbl="node1" presStyleIdx="0" presStyleCnt="4">
        <dgm:presLayoutVars>
          <dgm:chMax val="0"/>
          <dgm:chPref val="0"/>
          <dgm:bulletEnabled val="1"/>
        </dgm:presLayoutVars>
      </dgm:prSet>
      <dgm:spPr/>
    </dgm:pt>
    <dgm:pt modelId="{3797E0CA-D8C0-4015-A03A-C9074ED6D53C}" type="pres">
      <dgm:prSet presAssocID="{0F25745D-F830-44EB-9D7F-BE6273EB6A64}" presName="parSh" presStyleLbl="node1" presStyleIdx="0" presStyleCnt="4"/>
      <dgm:spPr/>
    </dgm:pt>
    <dgm:pt modelId="{E09F415F-D0F9-44E4-ABEC-A3C4E60F9B40}" type="pres">
      <dgm:prSet presAssocID="{0F25745D-F830-44EB-9D7F-BE6273EB6A64}" presName="desTx" presStyleLbl="fgAcc1" presStyleIdx="0" presStyleCnt="4">
        <dgm:presLayoutVars>
          <dgm:bulletEnabled val="1"/>
        </dgm:presLayoutVars>
      </dgm:prSet>
      <dgm:spPr/>
    </dgm:pt>
    <dgm:pt modelId="{CD534851-35F0-4745-939F-4015EBABA5FB}" type="pres">
      <dgm:prSet presAssocID="{967119CF-6891-4BC9-9CFB-56A71C7608E9}" presName="sibTrans" presStyleLbl="sibTrans2D1" presStyleIdx="0" presStyleCnt="3"/>
      <dgm:spPr/>
    </dgm:pt>
    <dgm:pt modelId="{0620CD19-2D5F-4004-9F5B-22881B8510E6}" type="pres">
      <dgm:prSet presAssocID="{967119CF-6891-4BC9-9CFB-56A71C7608E9}" presName="connTx" presStyleLbl="sibTrans2D1" presStyleIdx="0" presStyleCnt="3"/>
      <dgm:spPr/>
    </dgm:pt>
    <dgm:pt modelId="{EBB62F86-F776-4148-9B66-8F5D7B8EE334}" type="pres">
      <dgm:prSet presAssocID="{36065924-8A08-49E7-93B5-940CE3B71DB4}" presName="composite" presStyleCnt="0"/>
      <dgm:spPr/>
    </dgm:pt>
    <dgm:pt modelId="{2B2B658D-92A2-4C69-9399-90146054EDAE}" type="pres">
      <dgm:prSet presAssocID="{36065924-8A08-49E7-93B5-940CE3B71DB4}" presName="parTx" presStyleLbl="node1" presStyleIdx="0" presStyleCnt="4">
        <dgm:presLayoutVars>
          <dgm:chMax val="0"/>
          <dgm:chPref val="0"/>
          <dgm:bulletEnabled val="1"/>
        </dgm:presLayoutVars>
      </dgm:prSet>
      <dgm:spPr/>
    </dgm:pt>
    <dgm:pt modelId="{174E0023-8B89-4E36-9B1E-4857C206C072}" type="pres">
      <dgm:prSet presAssocID="{36065924-8A08-49E7-93B5-940CE3B71DB4}" presName="parSh" presStyleLbl="node1" presStyleIdx="1" presStyleCnt="4"/>
      <dgm:spPr/>
    </dgm:pt>
    <dgm:pt modelId="{5C281393-6F6D-47AC-8FE6-7ABC642C0A5E}" type="pres">
      <dgm:prSet presAssocID="{36065924-8A08-49E7-93B5-940CE3B71DB4}" presName="desTx" presStyleLbl="fgAcc1" presStyleIdx="1" presStyleCnt="4">
        <dgm:presLayoutVars>
          <dgm:bulletEnabled val="1"/>
        </dgm:presLayoutVars>
      </dgm:prSet>
      <dgm:spPr/>
    </dgm:pt>
    <dgm:pt modelId="{6E7CF00B-939D-4A2B-9FE7-0A259C5F09EB}" type="pres">
      <dgm:prSet presAssocID="{3A1E2ECA-3E10-4D48-875F-D8CC994A0866}" presName="sibTrans" presStyleLbl="sibTrans2D1" presStyleIdx="1" presStyleCnt="3"/>
      <dgm:spPr/>
    </dgm:pt>
    <dgm:pt modelId="{DB3EEDC3-DCC2-4787-8D02-189F5FA95818}" type="pres">
      <dgm:prSet presAssocID="{3A1E2ECA-3E10-4D48-875F-D8CC994A0866}" presName="connTx" presStyleLbl="sibTrans2D1" presStyleIdx="1" presStyleCnt="3"/>
      <dgm:spPr/>
    </dgm:pt>
    <dgm:pt modelId="{5FB602BB-9D61-4BF4-8FB8-091856FBE367}" type="pres">
      <dgm:prSet presAssocID="{080F5884-B261-407B-89FC-AAC9B1B9D5EA}" presName="composite" presStyleCnt="0"/>
      <dgm:spPr/>
    </dgm:pt>
    <dgm:pt modelId="{A4A4BD75-B0D0-4A79-BDE2-34816A146BE5}" type="pres">
      <dgm:prSet presAssocID="{080F5884-B261-407B-89FC-AAC9B1B9D5EA}" presName="parTx" presStyleLbl="node1" presStyleIdx="1" presStyleCnt="4">
        <dgm:presLayoutVars>
          <dgm:chMax val="0"/>
          <dgm:chPref val="0"/>
          <dgm:bulletEnabled val="1"/>
        </dgm:presLayoutVars>
      </dgm:prSet>
      <dgm:spPr/>
    </dgm:pt>
    <dgm:pt modelId="{A8B6E969-701D-472D-9DEA-E29E1AA5BAF9}" type="pres">
      <dgm:prSet presAssocID="{080F5884-B261-407B-89FC-AAC9B1B9D5EA}" presName="parSh" presStyleLbl="node1" presStyleIdx="2" presStyleCnt="4"/>
      <dgm:spPr/>
    </dgm:pt>
    <dgm:pt modelId="{FC55B32C-B8CE-4ABE-A3DC-1FC4AE5247D9}" type="pres">
      <dgm:prSet presAssocID="{080F5884-B261-407B-89FC-AAC9B1B9D5EA}" presName="desTx" presStyleLbl="fgAcc1" presStyleIdx="2" presStyleCnt="4">
        <dgm:presLayoutVars>
          <dgm:bulletEnabled val="1"/>
        </dgm:presLayoutVars>
      </dgm:prSet>
      <dgm:spPr/>
    </dgm:pt>
    <dgm:pt modelId="{E0F2BA1B-7CF4-4FCD-9C50-222B685A44F3}" type="pres">
      <dgm:prSet presAssocID="{6CF1D68B-AA62-4CF3-8335-C0E26271BB22}" presName="sibTrans" presStyleLbl="sibTrans2D1" presStyleIdx="2" presStyleCnt="3"/>
      <dgm:spPr/>
    </dgm:pt>
    <dgm:pt modelId="{2E36E5DC-0CB3-48AB-B3C5-22B7914189AF}" type="pres">
      <dgm:prSet presAssocID="{6CF1D68B-AA62-4CF3-8335-C0E26271BB22}" presName="connTx" presStyleLbl="sibTrans2D1" presStyleIdx="2" presStyleCnt="3"/>
      <dgm:spPr/>
    </dgm:pt>
    <dgm:pt modelId="{E484FC4F-4F68-43A6-8178-FF88ECC5474B}" type="pres">
      <dgm:prSet presAssocID="{595FD72D-B1A3-4E15-8BB1-C4980916C86A}" presName="composite" presStyleCnt="0"/>
      <dgm:spPr/>
    </dgm:pt>
    <dgm:pt modelId="{6DEF1CBE-7CD5-464F-921A-B1E21B95F187}" type="pres">
      <dgm:prSet presAssocID="{595FD72D-B1A3-4E15-8BB1-C4980916C86A}" presName="parTx" presStyleLbl="node1" presStyleIdx="2" presStyleCnt="4">
        <dgm:presLayoutVars>
          <dgm:chMax val="0"/>
          <dgm:chPref val="0"/>
          <dgm:bulletEnabled val="1"/>
        </dgm:presLayoutVars>
      </dgm:prSet>
      <dgm:spPr/>
    </dgm:pt>
    <dgm:pt modelId="{DF163FE5-FDAF-4E97-BBD7-4950AB13C4E3}" type="pres">
      <dgm:prSet presAssocID="{595FD72D-B1A3-4E15-8BB1-C4980916C86A}" presName="parSh" presStyleLbl="node1" presStyleIdx="3" presStyleCnt="4"/>
      <dgm:spPr/>
    </dgm:pt>
    <dgm:pt modelId="{46A6A67F-7065-418C-915F-DCCAFD8DE991}" type="pres">
      <dgm:prSet presAssocID="{595FD72D-B1A3-4E15-8BB1-C4980916C86A}" presName="desTx" presStyleLbl="fgAcc1" presStyleIdx="3" presStyleCnt="4">
        <dgm:presLayoutVars>
          <dgm:bulletEnabled val="1"/>
        </dgm:presLayoutVars>
      </dgm:prSet>
      <dgm:spPr/>
    </dgm:pt>
  </dgm:ptLst>
  <dgm:cxnLst>
    <dgm:cxn modelId="{3CD02117-E328-4468-A80C-BA6F9BF6FBA2}" type="presOf" srcId="{967119CF-6891-4BC9-9CFB-56A71C7608E9}" destId="{CD534851-35F0-4745-939F-4015EBABA5FB}" srcOrd="0" destOrd="0" presId="urn:microsoft.com/office/officeart/2005/8/layout/process3"/>
    <dgm:cxn modelId="{CEEE3225-D4E9-41DE-875E-79EF735434B3}" srcId="{36065924-8A08-49E7-93B5-940CE3B71DB4}" destId="{A9FA3A09-3C84-46E0-9FFB-C2EF63665F08}" srcOrd="0" destOrd="0" parTransId="{81EE1B29-E3E3-4683-A085-6D6BC1C91281}" sibTransId="{30E3AD8D-2A35-4F87-AD9D-854EC1BF7D03}"/>
    <dgm:cxn modelId="{DC195D31-4977-460E-8BA3-B144F3ADEF01}" srcId="{0DDC0443-0F67-4ADF-AFFF-09A21DFCF421}" destId="{36065924-8A08-49E7-93B5-940CE3B71DB4}" srcOrd="1" destOrd="0" parTransId="{7A9CB8F1-B129-48C7-AF4D-FADB75A9A15A}" sibTransId="{3A1E2ECA-3E10-4D48-875F-D8CC994A0866}"/>
    <dgm:cxn modelId="{8C924F61-B85C-4353-86F1-F968E0A0BC14}" type="presOf" srcId="{080F5884-B261-407B-89FC-AAC9B1B9D5EA}" destId="{A8B6E969-701D-472D-9DEA-E29E1AA5BAF9}" srcOrd="1" destOrd="0" presId="urn:microsoft.com/office/officeart/2005/8/layout/process3"/>
    <dgm:cxn modelId="{81E74564-140D-4E3E-B804-E9E0FE54E5D2}" type="presOf" srcId="{6CF1D68B-AA62-4CF3-8335-C0E26271BB22}" destId="{E0F2BA1B-7CF4-4FCD-9C50-222B685A44F3}" srcOrd="0" destOrd="0" presId="urn:microsoft.com/office/officeart/2005/8/layout/process3"/>
    <dgm:cxn modelId="{58467C69-CCDF-4DB8-A782-D599AE28F1CF}" type="presOf" srcId="{080F5884-B261-407B-89FC-AAC9B1B9D5EA}" destId="{A4A4BD75-B0D0-4A79-BDE2-34816A146BE5}" srcOrd="0" destOrd="0" presId="urn:microsoft.com/office/officeart/2005/8/layout/process3"/>
    <dgm:cxn modelId="{4207DA70-1D12-4206-9502-06EE2A9A1ADD}" type="presOf" srcId="{6CF1D68B-AA62-4CF3-8335-C0E26271BB22}" destId="{2E36E5DC-0CB3-48AB-B3C5-22B7914189AF}" srcOrd="1" destOrd="0" presId="urn:microsoft.com/office/officeart/2005/8/layout/process3"/>
    <dgm:cxn modelId="{5EF7F75A-AC70-4B24-9958-04272F09B0EF}" type="presOf" srcId="{013E60F7-0759-4CF3-8D06-57A952A524DC}" destId="{E09F415F-D0F9-44E4-ABEC-A3C4E60F9B40}" srcOrd="0" destOrd="0" presId="urn:microsoft.com/office/officeart/2005/8/layout/process3"/>
    <dgm:cxn modelId="{9B071682-FEEF-4A37-9CB7-62BEB4CCD0CD}" type="presOf" srcId="{0DDC0443-0F67-4ADF-AFFF-09A21DFCF421}" destId="{355CA321-090D-45F6-8071-9A12A0522AE8}" srcOrd="0" destOrd="0" presId="urn:microsoft.com/office/officeart/2005/8/layout/process3"/>
    <dgm:cxn modelId="{5BD3B682-45D2-438D-A0FD-8FFFF8876FF1}" type="presOf" srcId="{0F25745D-F830-44EB-9D7F-BE6273EB6A64}" destId="{3797E0CA-D8C0-4015-A03A-C9074ED6D53C}" srcOrd="1" destOrd="0" presId="urn:microsoft.com/office/officeart/2005/8/layout/process3"/>
    <dgm:cxn modelId="{73ED0B92-306A-449F-B433-C39463C22C8D}" srcId="{0DDC0443-0F67-4ADF-AFFF-09A21DFCF421}" destId="{080F5884-B261-407B-89FC-AAC9B1B9D5EA}" srcOrd="2" destOrd="0" parTransId="{63411739-6A38-4D5C-BB9A-B4C164416972}" sibTransId="{6CF1D68B-AA62-4CF3-8335-C0E26271BB22}"/>
    <dgm:cxn modelId="{16104392-8D5A-496C-8DD1-33391360C4FB}" srcId="{0DDC0443-0F67-4ADF-AFFF-09A21DFCF421}" destId="{595FD72D-B1A3-4E15-8BB1-C4980916C86A}" srcOrd="3" destOrd="0" parTransId="{61714164-DDE7-4A25-8121-0A4FFD527D45}" sibTransId="{C125806B-7F34-4464-99BB-C4596B7BBA4C}"/>
    <dgm:cxn modelId="{B5D2BC92-022B-463F-B6D2-9902D77682C7}" type="presOf" srcId="{0EE594DF-5F4D-402A-8372-EE211E0C21C5}" destId="{46A6A67F-7065-418C-915F-DCCAFD8DE991}" srcOrd="0" destOrd="0" presId="urn:microsoft.com/office/officeart/2005/8/layout/process3"/>
    <dgm:cxn modelId="{62E32294-A166-4A66-9588-8B6607F6DC49}" type="presOf" srcId="{0F25745D-F830-44EB-9D7F-BE6273EB6A64}" destId="{21ED70B8-0251-4FDA-BB5A-2C48FEBEDBBF}" srcOrd="0" destOrd="0" presId="urn:microsoft.com/office/officeart/2005/8/layout/process3"/>
    <dgm:cxn modelId="{FE1804A7-5929-4B8D-9049-6585F80D0B77}" srcId="{0F25745D-F830-44EB-9D7F-BE6273EB6A64}" destId="{013E60F7-0759-4CF3-8D06-57A952A524DC}" srcOrd="0" destOrd="0" parTransId="{32DF8FC2-3CD8-4C0B-ADB2-0D8B4FFF5348}" sibTransId="{B3A1D450-3224-4B16-8EE7-FD63D6818606}"/>
    <dgm:cxn modelId="{EDE043A7-5357-4BDF-91BC-1185FAE5E474}" type="presOf" srcId="{36065924-8A08-49E7-93B5-940CE3B71DB4}" destId="{2B2B658D-92A2-4C69-9399-90146054EDAE}" srcOrd="0" destOrd="0" presId="urn:microsoft.com/office/officeart/2005/8/layout/process3"/>
    <dgm:cxn modelId="{0D737FB0-0BFF-44BB-8858-D0CA3C684DFA}" type="presOf" srcId="{A9FA3A09-3C84-46E0-9FFB-C2EF63665F08}" destId="{5C281393-6F6D-47AC-8FE6-7ABC642C0A5E}" srcOrd="0" destOrd="0" presId="urn:microsoft.com/office/officeart/2005/8/layout/process3"/>
    <dgm:cxn modelId="{68FF6DB1-EC41-4FDA-821C-83C0B6C00AF0}" type="presOf" srcId="{EBDF69C5-4806-4F6E-8A67-8DFFE3954914}" destId="{FC55B32C-B8CE-4ABE-A3DC-1FC4AE5247D9}" srcOrd="0" destOrd="0" presId="urn:microsoft.com/office/officeart/2005/8/layout/process3"/>
    <dgm:cxn modelId="{6288A7B7-3E7E-43C6-998D-E391C861F9CB}" type="presOf" srcId="{967119CF-6891-4BC9-9CFB-56A71C7608E9}" destId="{0620CD19-2D5F-4004-9F5B-22881B8510E6}" srcOrd="1" destOrd="0" presId="urn:microsoft.com/office/officeart/2005/8/layout/process3"/>
    <dgm:cxn modelId="{177CBEC6-4E0B-4E2F-A606-96D31BB8C076}" type="presOf" srcId="{595FD72D-B1A3-4E15-8BB1-C4980916C86A}" destId="{6DEF1CBE-7CD5-464F-921A-B1E21B95F187}" srcOrd="0" destOrd="0" presId="urn:microsoft.com/office/officeart/2005/8/layout/process3"/>
    <dgm:cxn modelId="{00ADA1CC-B6DF-4FA3-8D5F-C7DEEA7BEE64}" type="presOf" srcId="{3A1E2ECA-3E10-4D48-875F-D8CC994A0866}" destId="{6E7CF00B-939D-4A2B-9FE7-0A259C5F09EB}" srcOrd="0" destOrd="0" presId="urn:microsoft.com/office/officeart/2005/8/layout/process3"/>
    <dgm:cxn modelId="{0050CDCF-E7F5-4FB4-84CD-EFB227C59FE1}" srcId="{0DDC0443-0F67-4ADF-AFFF-09A21DFCF421}" destId="{0F25745D-F830-44EB-9D7F-BE6273EB6A64}" srcOrd="0" destOrd="0" parTransId="{1C3361D4-7FAC-48D8-BF75-E8CAE1508DFC}" sibTransId="{967119CF-6891-4BC9-9CFB-56A71C7608E9}"/>
    <dgm:cxn modelId="{65D628D8-5CCA-40E2-AD1E-E346BD8D2561}" srcId="{595FD72D-B1A3-4E15-8BB1-C4980916C86A}" destId="{0EE594DF-5F4D-402A-8372-EE211E0C21C5}" srcOrd="0" destOrd="0" parTransId="{29371713-6602-4676-A52F-236C77E75060}" sibTransId="{BB9A0697-CE0E-4614-8633-27318E61B27B}"/>
    <dgm:cxn modelId="{87401FDF-8981-42B4-99D2-A1A98238BE52}" type="presOf" srcId="{595FD72D-B1A3-4E15-8BB1-C4980916C86A}" destId="{DF163FE5-FDAF-4E97-BBD7-4950AB13C4E3}" srcOrd="1" destOrd="0" presId="urn:microsoft.com/office/officeart/2005/8/layout/process3"/>
    <dgm:cxn modelId="{3FDFD4E1-B927-4CA3-9849-365CC174B358}" type="presOf" srcId="{36065924-8A08-49E7-93B5-940CE3B71DB4}" destId="{174E0023-8B89-4E36-9B1E-4857C206C072}" srcOrd="1" destOrd="0" presId="urn:microsoft.com/office/officeart/2005/8/layout/process3"/>
    <dgm:cxn modelId="{C7DDEDF5-1664-4B0D-98C5-5B27660E6331}" type="presOf" srcId="{3A1E2ECA-3E10-4D48-875F-D8CC994A0866}" destId="{DB3EEDC3-DCC2-4787-8D02-189F5FA95818}" srcOrd="1" destOrd="0" presId="urn:microsoft.com/office/officeart/2005/8/layout/process3"/>
    <dgm:cxn modelId="{3660D9FF-085A-4143-A3CD-66F8A58B7A62}" srcId="{080F5884-B261-407B-89FC-AAC9B1B9D5EA}" destId="{EBDF69C5-4806-4F6E-8A67-8DFFE3954914}" srcOrd="0" destOrd="0" parTransId="{CC8A55FD-E57A-4521-9DB0-7C36C97B51FD}" sibTransId="{FA356AE3-806D-4C48-B437-83845E3B0AD7}"/>
    <dgm:cxn modelId="{574EC3C8-C9CC-468F-89A9-729A719018E4}" type="presParOf" srcId="{355CA321-090D-45F6-8071-9A12A0522AE8}" destId="{570C4264-0C9D-4868-B177-93534C178281}" srcOrd="0" destOrd="0" presId="urn:microsoft.com/office/officeart/2005/8/layout/process3"/>
    <dgm:cxn modelId="{C712FF4D-A50E-4BF6-8FBE-BEF2C9CE2934}" type="presParOf" srcId="{570C4264-0C9D-4868-B177-93534C178281}" destId="{21ED70B8-0251-4FDA-BB5A-2C48FEBEDBBF}" srcOrd="0" destOrd="0" presId="urn:microsoft.com/office/officeart/2005/8/layout/process3"/>
    <dgm:cxn modelId="{42210F6D-9105-4A63-BABC-557B3C3D26B8}" type="presParOf" srcId="{570C4264-0C9D-4868-B177-93534C178281}" destId="{3797E0CA-D8C0-4015-A03A-C9074ED6D53C}" srcOrd="1" destOrd="0" presId="urn:microsoft.com/office/officeart/2005/8/layout/process3"/>
    <dgm:cxn modelId="{429D8928-7839-45D8-B85F-F33C0DA5F76A}" type="presParOf" srcId="{570C4264-0C9D-4868-B177-93534C178281}" destId="{E09F415F-D0F9-44E4-ABEC-A3C4E60F9B40}" srcOrd="2" destOrd="0" presId="urn:microsoft.com/office/officeart/2005/8/layout/process3"/>
    <dgm:cxn modelId="{B79CAAB4-6E46-4D72-921F-9DCFFD7C3828}" type="presParOf" srcId="{355CA321-090D-45F6-8071-9A12A0522AE8}" destId="{CD534851-35F0-4745-939F-4015EBABA5FB}" srcOrd="1" destOrd="0" presId="urn:microsoft.com/office/officeart/2005/8/layout/process3"/>
    <dgm:cxn modelId="{8C06B407-BCC9-4F53-8DFC-F480A235A5D4}" type="presParOf" srcId="{CD534851-35F0-4745-939F-4015EBABA5FB}" destId="{0620CD19-2D5F-4004-9F5B-22881B8510E6}" srcOrd="0" destOrd="0" presId="urn:microsoft.com/office/officeart/2005/8/layout/process3"/>
    <dgm:cxn modelId="{F26F7EBE-67A9-4F5B-BFF2-EF8E4279AEC5}" type="presParOf" srcId="{355CA321-090D-45F6-8071-9A12A0522AE8}" destId="{EBB62F86-F776-4148-9B66-8F5D7B8EE334}" srcOrd="2" destOrd="0" presId="urn:microsoft.com/office/officeart/2005/8/layout/process3"/>
    <dgm:cxn modelId="{EE061AD4-4EB3-45C6-A8C5-8DB037E67937}" type="presParOf" srcId="{EBB62F86-F776-4148-9B66-8F5D7B8EE334}" destId="{2B2B658D-92A2-4C69-9399-90146054EDAE}" srcOrd="0" destOrd="0" presId="urn:microsoft.com/office/officeart/2005/8/layout/process3"/>
    <dgm:cxn modelId="{25248ABE-0C8D-40E8-B483-35D634C8B8CE}" type="presParOf" srcId="{EBB62F86-F776-4148-9B66-8F5D7B8EE334}" destId="{174E0023-8B89-4E36-9B1E-4857C206C072}" srcOrd="1" destOrd="0" presId="urn:microsoft.com/office/officeart/2005/8/layout/process3"/>
    <dgm:cxn modelId="{75F90278-E3FE-4CD5-B41C-2327BBC3A47A}" type="presParOf" srcId="{EBB62F86-F776-4148-9B66-8F5D7B8EE334}" destId="{5C281393-6F6D-47AC-8FE6-7ABC642C0A5E}" srcOrd="2" destOrd="0" presId="urn:microsoft.com/office/officeart/2005/8/layout/process3"/>
    <dgm:cxn modelId="{7243BCDB-5F8D-4661-9870-D031A7CB4257}" type="presParOf" srcId="{355CA321-090D-45F6-8071-9A12A0522AE8}" destId="{6E7CF00B-939D-4A2B-9FE7-0A259C5F09EB}" srcOrd="3" destOrd="0" presId="urn:microsoft.com/office/officeart/2005/8/layout/process3"/>
    <dgm:cxn modelId="{6CECDDA5-C66A-4A26-9A57-7A416E4B192D}" type="presParOf" srcId="{6E7CF00B-939D-4A2B-9FE7-0A259C5F09EB}" destId="{DB3EEDC3-DCC2-4787-8D02-189F5FA95818}" srcOrd="0" destOrd="0" presId="urn:microsoft.com/office/officeart/2005/8/layout/process3"/>
    <dgm:cxn modelId="{1D074DB0-E209-46F5-A396-7956006244F4}" type="presParOf" srcId="{355CA321-090D-45F6-8071-9A12A0522AE8}" destId="{5FB602BB-9D61-4BF4-8FB8-091856FBE367}" srcOrd="4" destOrd="0" presId="urn:microsoft.com/office/officeart/2005/8/layout/process3"/>
    <dgm:cxn modelId="{F019CCAD-01E1-4D7D-BF48-43721C864990}" type="presParOf" srcId="{5FB602BB-9D61-4BF4-8FB8-091856FBE367}" destId="{A4A4BD75-B0D0-4A79-BDE2-34816A146BE5}" srcOrd="0" destOrd="0" presId="urn:microsoft.com/office/officeart/2005/8/layout/process3"/>
    <dgm:cxn modelId="{5618ECF4-D8CC-4D1B-893F-3046B3527CB4}" type="presParOf" srcId="{5FB602BB-9D61-4BF4-8FB8-091856FBE367}" destId="{A8B6E969-701D-472D-9DEA-E29E1AA5BAF9}" srcOrd="1" destOrd="0" presId="urn:microsoft.com/office/officeart/2005/8/layout/process3"/>
    <dgm:cxn modelId="{DE6E6D40-F532-47C1-92F8-6D0B19505667}" type="presParOf" srcId="{5FB602BB-9D61-4BF4-8FB8-091856FBE367}" destId="{FC55B32C-B8CE-4ABE-A3DC-1FC4AE5247D9}" srcOrd="2" destOrd="0" presId="urn:microsoft.com/office/officeart/2005/8/layout/process3"/>
    <dgm:cxn modelId="{DD5C6904-2FCC-4689-83BF-64686BB0BE21}" type="presParOf" srcId="{355CA321-090D-45F6-8071-9A12A0522AE8}" destId="{E0F2BA1B-7CF4-4FCD-9C50-222B685A44F3}" srcOrd="5" destOrd="0" presId="urn:microsoft.com/office/officeart/2005/8/layout/process3"/>
    <dgm:cxn modelId="{FA8AC96A-13EA-4C16-BC79-8BB1290EE5B9}" type="presParOf" srcId="{E0F2BA1B-7CF4-4FCD-9C50-222B685A44F3}" destId="{2E36E5DC-0CB3-48AB-B3C5-22B7914189AF}" srcOrd="0" destOrd="0" presId="urn:microsoft.com/office/officeart/2005/8/layout/process3"/>
    <dgm:cxn modelId="{A16E8F84-0A2F-4215-870B-404FCA5DF6C4}" type="presParOf" srcId="{355CA321-090D-45F6-8071-9A12A0522AE8}" destId="{E484FC4F-4F68-43A6-8178-FF88ECC5474B}" srcOrd="6" destOrd="0" presId="urn:microsoft.com/office/officeart/2005/8/layout/process3"/>
    <dgm:cxn modelId="{95AC235D-E458-434F-8368-EC2F54AA337A}" type="presParOf" srcId="{E484FC4F-4F68-43A6-8178-FF88ECC5474B}" destId="{6DEF1CBE-7CD5-464F-921A-B1E21B95F187}" srcOrd="0" destOrd="0" presId="urn:microsoft.com/office/officeart/2005/8/layout/process3"/>
    <dgm:cxn modelId="{EFEC30A3-366C-4098-8605-799AEA77199D}" type="presParOf" srcId="{E484FC4F-4F68-43A6-8178-FF88ECC5474B}" destId="{DF163FE5-FDAF-4E97-BBD7-4950AB13C4E3}" srcOrd="1" destOrd="0" presId="urn:microsoft.com/office/officeart/2005/8/layout/process3"/>
    <dgm:cxn modelId="{D12D2E48-3DCF-4E07-95A3-3FF6D94E95D7}" type="presParOf" srcId="{E484FC4F-4F68-43A6-8178-FF88ECC5474B}" destId="{46A6A67F-7065-418C-915F-DCCAFD8DE991}"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7E0CA-D8C0-4015-A03A-C9074ED6D53C}">
      <dsp:nvSpPr>
        <dsp:cNvPr id="0" name=""/>
        <dsp:cNvSpPr/>
      </dsp:nvSpPr>
      <dsp:spPr>
        <a:xfrm>
          <a:off x="1079" y="1522225"/>
          <a:ext cx="1356815" cy="7879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GB" sz="1400" kern="1200" noProof="0" dirty="0"/>
            <a:t>6/12/22</a:t>
          </a:r>
        </a:p>
      </dsp:txBody>
      <dsp:txXfrm>
        <a:off x="1079" y="1522225"/>
        <a:ext cx="1356815" cy="525285"/>
      </dsp:txXfrm>
    </dsp:sp>
    <dsp:sp modelId="{E09F415F-D0F9-44E4-ABEC-A3C4E60F9B40}">
      <dsp:nvSpPr>
        <dsp:cNvPr id="0" name=""/>
        <dsp:cNvSpPr/>
      </dsp:nvSpPr>
      <dsp:spPr>
        <a:xfrm>
          <a:off x="278981" y="2047511"/>
          <a:ext cx="1356815" cy="138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GB" sz="1200" kern="1200" noProof="0" dirty="0"/>
            <a:t>Systematic Revue Ballot closed</a:t>
          </a:r>
        </a:p>
      </dsp:txBody>
      <dsp:txXfrm>
        <a:off x="318721" y="2087251"/>
        <a:ext cx="1277335" cy="1306520"/>
      </dsp:txXfrm>
    </dsp:sp>
    <dsp:sp modelId="{CD534851-35F0-4745-939F-4015EBABA5FB}">
      <dsp:nvSpPr>
        <dsp:cNvPr id="0" name=""/>
        <dsp:cNvSpPr/>
      </dsp:nvSpPr>
      <dsp:spPr>
        <a:xfrm>
          <a:off x="1563583" y="1615964"/>
          <a:ext cx="436059" cy="33780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noProof="0" dirty="0"/>
        </a:p>
      </dsp:txBody>
      <dsp:txXfrm>
        <a:off x="1563583" y="1683525"/>
        <a:ext cx="334717" cy="202685"/>
      </dsp:txXfrm>
    </dsp:sp>
    <dsp:sp modelId="{174E0023-8B89-4E36-9B1E-4857C206C072}">
      <dsp:nvSpPr>
        <dsp:cNvPr id="0" name=""/>
        <dsp:cNvSpPr/>
      </dsp:nvSpPr>
      <dsp:spPr>
        <a:xfrm>
          <a:off x="2180648" y="1522225"/>
          <a:ext cx="1356815" cy="7879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GB" sz="1400" kern="1200" noProof="0" dirty="0"/>
            <a:t>6/12/22-06/03/23</a:t>
          </a:r>
        </a:p>
      </dsp:txBody>
      <dsp:txXfrm>
        <a:off x="2180648" y="1522225"/>
        <a:ext cx="1356815" cy="525285"/>
      </dsp:txXfrm>
    </dsp:sp>
    <dsp:sp modelId="{5C281393-6F6D-47AC-8FE6-7ABC642C0A5E}">
      <dsp:nvSpPr>
        <dsp:cNvPr id="0" name=""/>
        <dsp:cNvSpPr/>
      </dsp:nvSpPr>
      <dsp:spPr>
        <a:xfrm>
          <a:off x="2458551" y="2047511"/>
          <a:ext cx="1356815" cy="138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noProof="0" dirty="0"/>
            <a:t>Preparation work UK/FR to build a first WD based on 3 axis</a:t>
          </a:r>
        </a:p>
      </dsp:txBody>
      <dsp:txXfrm>
        <a:off x="2498291" y="2087251"/>
        <a:ext cx="1277335" cy="1306520"/>
      </dsp:txXfrm>
    </dsp:sp>
    <dsp:sp modelId="{6E7CF00B-939D-4A2B-9FE7-0A259C5F09EB}">
      <dsp:nvSpPr>
        <dsp:cNvPr id="0" name=""/>
        <dsp:cNvSpPr/>
      </dsp:nvSpPr>
      <dsp:spPr>
        <a:xfrm>
          <a:off x="3743153" y="1615964"/>
          <a:ext cx="436059" cy="33780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noProof="0" dirty="0"/>
        </a:p>
      </dsp:txBody>
      <dsp:txXfrm>
        <a:off x="3743153" y="1683525"/>
        <a:ext cx="334717" cy="202685"/>
      </dsp:txXfrm>
    </dsp:sp>
    <dsp:sp modelId="{A8B6E969-701D-472D-9DEA-E29E1AA5BAF9}">
      <dsp:nvSpPr>
        <dsp:cNvPr id="0" name=""/>
        <dsp:cNvSpPr/>
      </dsp:nvSpPr>
      <dsp:spPr>
        <a:xfrm>
          <a:off x="4360218" y="1522225"/>
          <a:ext cx="1356815" cy="7879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GB" sz="1400" kern="1200" noProof="0" dirty="0"/>
            <a:t>6 to 31 March 23</a:t>
          </a:r>
        </a:p>
      </dsp:txBody>
      <dsp:txXfrm>
        <a:off x="4360218" y="1522225"/>
        <a:ext cx="1356815" cy="525285"/>
      </dsp:txXfrm>
    </dsp:sp>
    <dsp:sp modelId="{FC55B32C-B8CE-4ABE-A3DC-1FC4AE5247D9}">
      <dsp:nvSpPr>
        <dsp:cNvPr id="0" name=""/>
        <dsp:cNvSpPr/>
      </dsp:nvSpPr>
      <dsp:spPr>
        <a:xfrm>
          <a:off x="4638120" y="2047511"/>
          <a:ext cx="1356815" cy="138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noProof="0" dirty="0"/>
            <a:t>WG meeting to collectively finalize the WD </a:t>
          </a:r>
        </a:p>
      </dsp:txBody>
      <dsp:txXfrm>
        <a:off x="4677860" y="2087251"/>
        <a:ext cx="1277335" cy="1306520"/>
      </dsp:txXfrm>
    </dsp:sp>
    <dsp:sp modelId="{E0F2BA1B-7CF4-4FCD-9C50-222B685A44F3}">
      <dsp:nvSpPr>
        <dsp:cNvPr id="0" name=""/>
        <dsp:cNvSpPr/>
      </dsp:nvSpPr>
      <dsp:spPr>
        <a:xfrm>
          <a:off x="5922722" y="1615964"/>
          <a:ext cx="436059" cy="33780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noProof="0" dirty="0"/>
        </a:p>
      </dsp:txBody>
      <dsp:txXfrm>
        <a:off x="5922722" y="1683525"/>
        <a:ext cx="334717" cy="202685"/>
      </dsp:txXfrm>
    </dsp:sp>
    <dsp:sp modelId="{DF163FE5-FDAF-4E97-BBD7-4950AB13C4E3}">
      <dsp:nvSpPr>
        <dsp:cNvPr id="0" name=""/>
        <dsp:cNvSpPr/>
      </dsp:nvSpPr>
      <dsp:spPr>
        <a:xfrm>
          <a:off x="6539787" y="1522225"/>
          <a:ext cx="1356815" cy="7879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53340" numCol="1" spcCol="1270" anchor="t" anchorCtr="0">
          <a:noAutofit/>
        </a:bodyPr>
        <a:lstStyle/>
        <a:p>
          <a:pPr marL="0" lvl="0" indent="0" algn="l" defTabSz="622300">
            <a:lnSpc>
              <a:spcPct val="90000"/>
            </a:lnSpc>
            <a:spcBef>
              <a:spcPct val="0"/>
            </a:spcBef>
            <a:spcAft>
              <a:spcPct val="35000"/>
            </a:spcAft>
            <a:buNone/>
          </a:pPr>
          <a:r>
            <a:rPr lang="en-GB" sz="1400" kern="1200" noProof="0" dirty="0"/>
            <a:t>2 May 23 </a:t>
          </a:r>
        </a:p>
      </dsp:txBody>
      <dsp:txXfrm>
        <a:off x="6539787" y="1522225"/>
        <a:ext cx="1356815" cy="525285"/>
      </dsp:txXfrm>
    </dsp:sp>
    <dsp:sp modelId="{46A6A67F-7065-418C-915F-DCCAFD8DE991}">
      <dsp:nvSpPr>
        <dsp:cNvPr id="0" name=""/>
        <dsp:cNvSpPr/>
      </dsp:nvSpPr>
      <dsp:spPr>
        <a:xfrm>
          <a:off x="6817689" y="2047511"/>
          <a:ext cx="1356815" cy="13860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l" defTabSz="622300">
            <a:lnSpc>
              <a:spcPct val="90000"/>
            </a:lnSpc>
            <a:spcBef>
              <a:spcPct val="0"/>
            </a:spcBef>
            <a:spcAft>
              <a:spcPct val="15000"/>
            </a:spcAft>
            <a:buChar char="•"/>
          </a:pPr>
          <a:r>
            <a:rPr lang="en-GB" sz="1400" kern="1200" noProof="0" dirty="0"/>
            <a:t>DIS ballot</a:t>
          </a:r>
        </a:p>
      </dsp:txBody>
      <dsp:txXfrm>
        <a:off x="6857429" y="2087251"/>
        <a:ext cx="1277335" cy="13065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
        <p:cNvGrpSpPr/>
        <p:nvPr/>
      </p:nvGrpSpPr>
      <p:grpSpPr>
        <a:xfrm>
          <a:off x="0" y="0"/>
          <a:ext cx="0" cy="0"/>
          <a:chOff x="0" y="0"/>
          <a:chExt cx="0" cy="0"/>
        </a:xfrm>
      </p:grpSpPr>
      <p:sp>
        <p:nvSpPr>
          <p:cNvPr id="55" name="Google Shape;55;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6" name="Google Shape;56;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0"/>
              </a:spcAft>
              <a:buSzPts val="1400"/>
              <a:buNone/>
            </a:pPr>
            <a:endParaRPr/>
          </a:p>
        </p:txBody>
      </p:sp>
      <p:sp>
        <p:nvSpPr>
          <p:cNvPr id="57" name="Google Shape;57;p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58" name="Google Shape;58;p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4</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Google Shape;169;g21718fd69ec_0_27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0" name="Google Shape;170;g21718fd69ec_0_27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00"/>
              </a:spcBef>
              <a:spcAft>
                <a:spcPts val="300"/>
              </a:spcAft>
              <a:buClr>
                <a:schemeClr val="dk1"/>
              </a:buClr>
              <a:buSzPts val="1100"/>
              <a:buFont typeface="Arial"/>
              <a:buNone/>
            </a:pPr>
            <a:endParaRPr sz="1100">
              <a:highlight>
                <a:schemeClr val="lt1"/>
              </a:highlight>
            </a:endParaRPr>
          </a:p>
        </p:txBody>
      </p:sp>
      <p:sp>
        <p:nvSpPr>
          <p:cNvPr id="171" name="Google Shape;171;g21718fd69ec_0_278: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72" name="Google Shape;172;g21718fd69ec_0_27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5</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23906be1acd_0_12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5" name="Google Shape;185;g23906be1acd_0_12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6" name="Google Shape;186;g23906be1acd_0_129: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87" name="Google Shape;187;g23906be1acd_0_12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6</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
        <p:cNvGrpSpPr/>
        <p:nvPr/>
      </p:nvGrpSpPr>
      <p:grpSpPr>
        <a:xfrm>
          <a:off x="0" y="0"/>
          <a:ext cx="0" cy="0"/>
          <a:chOff x="0" y="0"/>
          <a:chExt cx="0" cy="0"/>
        </a:xfrm>
      </p:grpSpPr>
      <p:sp>
        <p:nvSpPr>
          <p:cNvPr id="197" name="Google Shape;197;g2390f5deff8_2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 name="Google Shape;198;g2390f5deff8_2_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99" name="Google Shape;199;g2390f5deff8_2_0: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00" name="Google Shape;200;g2390f5deff8_2_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7</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23906be1acd_0_11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 name="Google Shape;211;g23906be1acd_0_11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2" name="Google Shape;212;g23906be1acd_0_116: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13" name="Google Shape;213;g23906be1acd_0_11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8</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g21718fd69ec_0_2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5" name="Google Shape;225;g21718fd69ec_0_2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sz="1100">
              <a:highlight>
                <a:schemeClr val="lt1"/>
              </a:highlight>
            </a:endParaRPr>
          </a:p>
        </p:txBody>
      </p:sp>
      <p:sp>
        <p:nvSpPr>
          <p:cNvPr id="226" name="Google Shape;226;g21718fd69ec_0_24: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27" name="Google Shape;227;g21718fd69ec_0_2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9</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21718fd69ec_0_41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9" name="Google Shape;239;g21718fd69ec_0_41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sz="1100">
              <a:highlight>
                <a:schemeClr val="lt1"/>
              </a:highlight>
            </a:endParaRPr>
          </a:p>
        </p:txBody>
      </p:sp>
      <p:sp>
        <p:nvSpPr>
          <p:cNvPr id="240" name="Google Shape;240;g21718fd69ec_0_419: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41" name="Google Shape;241;g21718fd69ec_0_41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0</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0"/>
        <p:cNvGrpSpPr/>
        <p:nvPr/>
      </p:nvGrpSpPr>
      <p:grpSpPr>
        <a:xfrm>
          <a:off x="0" y="0"/>
          <a:ext cx="0" cy="0"/>
          <a:chOff x="0" y="0"/>
          <a:chExt cx="0" cy="0"/>
        </a:xfrm>
      </p:grpSpPr>
      <p:sp>
        <p:nvSpPr>
          <p:cNvPr id="251" name="Google Shape;251;g21718fd69ec_0_31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2" name="Google Shape;252;g21718fd69ec_0_31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US" u="sng"/>
              <a:t>Additional Comments (IB): </a:t>
            </a:r>
            <a:endParaRPr u="sng"/>
          </a:p>
          <a:p>
            <a:pPr marL="0" lvl="0" indent="0" algn="l" rtl="0">
              <a:lnSpc>
                <a:spcPct val="100000"/>
              </a:lnSpc>
              <a:spcBef>
                <a:spcPts val="0"/>
              </a:spcBef>
              <a:spcAft>
                <a:spcPts val="0"/>
              </a:spcAft>
              <a:buSzPts val="1400"/>
              <a:buNone/>
            </a:pPr>
            <a:endParaRPr/>
          </a:p>
        </p:txBody>
      </p:sp>
      <p:sp>
        <p:nvSpPr>
          <p:cNvPr id="253" name="Google Shape;253;g21718fd69ec_0_310: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54" name="Google Shape;254;g21718fd69ec_0_31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1</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21718fd69ec_0_10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6" name="Google Shape;266;g21718fd69ec_0_10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00"/>
              </a:spcBef>
              <a:spcAft>
                <a:spcPts val="0"/>
              </a:spcAft>
              <a:buClr>
                <a:schemeClr val="dk1"/>
              </a:buClr>
              <a:buSzPts val="1100"/>
              <a:buFont typeface="Arial"/>
              <a:buNone/>
            </a:pPr>
            <a:r>
              <a:rPr lang="en-US" sz="1100" b="1">
                <a:highlight>
                  <a:schemeClr val="lt1"/>
                </a:highlight>
                <a:latin typeface="Arial"/>
                <a:ea typeface="Arial"/>
                <a:cs typeface="Arial"/>
                <a:sym typeface="Arial"/>
              </a:rPr>
              <a:t>Additional points (IB): </a:t>
            </a:r>
            <a:endParaRPr sz="1100" b="1">
              <a:highlight>
                <a:schemeClr val="lt1"/>
              </a:highlight>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r>
              <a:rPr lang="en-US" sz="1100">
                <a:highlight>
                  <a:schemeClr val="lt1"/>
                </a:highlight>
                <a:latin typeface="Arial"/>
                <a:ea typeface="Arial"/>
                <a:cs typeface="Arial"/>
                <a:sym typeface="Arial"/>
              </a:rPr>
              <a:t>Additional Points (IB): </a:t>
            </a:r>
            <a:r>
              <a:rPr lang="en-US" sz="1100" b="1">
                <a:highlight>
                  <a:schemeClr val="lt1"/>
                </a:highlight>
                <a:latin typeface="Arial"/>
                <a:ea typeface="Arial"/>
                <a:cs typeface="Arial"/>
                <a:sym typeface="Arial"/>
              </a:rPr>
              <a:t>Human Rights: </a:t>
            </a:r>
            <a:r>
              <a:rPr lang="en-US" sz="1100">
                <a:highlight>
                  <a:schemeClr val="lt1"/>
                </a:highlight>
                <a:latin typeface="Arial"/>
                <a:ea typeface="Arial"/>
                <a:cs typeface="Arial"/>
                <a:sym typeface="Arial"/>
              </a:rPr>
              <a:t>the integration of consideration of human rights in the norm is important, however a balanced approach must be taken to the 3 pillars of sustainability.  Planetary boundaries, corruption, human rights infringements, doping, manipulation etc., all require specialised subject matter expertise with it preferred that reference to existing standards, guidelines etc are made in the annex of the norm and not within the norm itself. At the national level, human rights is integrated across diverse legal and regulatory texts with each nation addressing different issues at a different level. Is the role of the event to support a nation in adapting its legal framework and implementation on specific human rights matters? Yes. And how can we use the ISO norm to support that process?  The most important is the identification of risks, mitigation and the possibility for reporting. </a:t>
            </a:r>
            <a:endParaRPr sz="1100">
              <a:highlight>
                <a:schemeClr val="lt1"/>
              </a:highlight>
              <a:latin typeface="Arial"/>
              <a:ea typeface="Arial"/>
              <a:cs typeface="Arial"/>
              <a:sym typeface="Arial"/>
            </a:endParaRPr>
          </a:p>
          <a:p>
            <a:pPr marL="0" lvl="0" indent="0" algn="l" rtl="0">
              <a:lnSpc>
                <a:spcPct val="115000"/>
              </a:lnSpc>
              <a:spcBef>
                <a:spcPts val="300"/>
              </a:spcBef>
              <a:spcAft>
                <a:spcPts val="0"/>
              </a:spcAft>
              <a:buClr>
                <a:schemeClr val="dk1"/>
              </a:buClr>
              <a:buSzPts val="1100"/>
              <a:buFont typeface="Arial"/>
              <a:buNone/>
            </a:pPr>
            <a:endParaRPr sz="1100">
              <a:latin typeface="Arial"/>
              <a:ea typeface="Arial"/>
              <a:cs typeface="Arial"/>
              <a:sym typeface="Arial"/>
            </a:endParaRPr>
          </a:p>
          <a:p>
            <a:pPr marL="0" lvl="0" indent="0" algn="l" rtl="0">
              <a:lnSpc>
                <a:spcPct val="115000"/>
              </a:lnSpc>
              <a:spcBef>
                <a:spcPts val="300"/>
              </a:spcBef>
              <a:spcAft>
                <a:spcPts val="0"/>
              </a:spcAft>
              <a:buClr>
                <a:schemeClr val="dk1"/>
              </a:buClr>
              <a:buSzPts val="1100"/>
              <a:buFont typeface="Arial"/>
              <a:buNone/>
            </a:pPr>
            <a:endParaRPr sz="1100">
              <a:highlight>
                <a:schemeClr val="lt1"/>
              </a:highlight>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endParaRPr sz="1100">
              <a:highlight>
                <a:schemeClr val="lt1"/>
              </a:highlight>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endParaRPr sz="1100">
              <a:highlight>
                <a:schemeClr val="lt1"/>
              </a:highlight>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endParaRPr sz="1100">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endParaRPr sz="1100">
              <a:latin typeface="Arial"/>
              <a:ea typeface="Arial"/>
              <a:cs typeface="Arial"/>
              <a:sym typeface="Arial"/>
            </a:endParaRPr>
          </a:p>
          <a:p>
            <a:pPr marL="0" lvl="0" indent="0" algn="l" rtl="0">
              <a:lnSpc>
                <a:spcPct val="115000"/>
              </a:lnSpc>
              <a:spcBef>
                <a:spcPts val="300"/>
              </a:spcBef>
              <a:spcAft>
                <a:spcPts val="0"/>
              </a:spcAft>
              <a:buClr>
                <a:schemeClr val="dk1"/>
              </a:buClr>
              <a:buSzPts val="1100"/>
              <a:buFont typeface="Arial"/>
              <a:buNone/>
            </a:pPr>
            <a:endParaRPr sz="1100">
              <a:latin typeface="Arial"/>
              <a:ea typeface="Arial"/>
              <a:cs typeface="Arial"/>
              <a:sym typeface="Arial"/>
            </a:endParaRPr>
          </a:p>
          <a:p>
            <a:pPr marL="0" lvl="0" indent="0" algn="l" rtl="0">
              <a:lnSpc>
                <a:spcPct val="100000"/>
              </a:lnSpc>
              <a:spcBef>
                <a:spcPts val="300"/>
              </a:spcBef>
              <a:spcAft>
                <a:spcPts val="0"/>
              </a:spcAft>
              <a:buClr>
                <a:schemeClr val="dk1"/>
              </a:buClr>
              <a:buSzPts val="1100"/>
              <a:buFont typeface="Arial"/>
              <a:buNone/>
            </a:pPr>
            <a:endParaRPr sz="1100">
              <a:highlight>
                <a:schemeClr val="lt1"/>
              </a:highlight>
              <a:latin typeface="Arial"/>
              <a:ea typeface="Arial"/>
              <a:cs typeface="Arial"/>
              <a:sym typeface="Arial"/>
            </a:endParaRPr>
          </a:p>
          <a:p>
            <a:pPr marL="0" lvl="0" indent="0" algn="l" rtl="0">
              <a:lnSpc>
                <a:spcPct val="100000"/>
              </a:lnSpc>
              <a:spcBef>
                <a:spcPts val="300"/>
              </a:spcBef>
              <a:spcAft>
                <a:spcPts val="0"/>
              </a:spcAft>
              <a:buSzPts val="1400"/>
              <a:buNone/>
            </a:pPr>
            <a:endParaRPr/>
          </a:p>
        </p:txBody>
      </p:sp>
      <p:sp>
        <p:nvSpPr>
          <p:cNvPr id="267" name="Google Shape;267;g21718fd69ec_0_107: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68" name="Google Shape;268;g21718fd69ec_0_107: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2</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8"/>
        <p:cNvGrpSpPr/>
        <p:nvPr/>
      </p:nvGrpSpPr>
      <p:grpSpPr>
        <a:xfrm>
          <a:off x="0" y="0"/>
          <a:ext cx="0" cy="0"/>
          <a:chOff x="0" y="0"/>
          <a:chExt cx="0" cy="0"/>
        </a:xfrm>
      </p:grpSpPr>
      <p:sp>
        <p:nvSpPr>
          <p:cNvPr id="279" name="Google Shape;279;g23906be1acd_0_15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0" name="Google Shape;280;g23906be1acd_0_15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1" name="Google Shape;281;g23906be1acd_0_155: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82" name="Google Shape;282;g23906be1acd_0_155: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3</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g21718fd69ec_0_15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3" name="Google Shape;293;g21718fd69ec_0_15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4" name="Google Shape;294;g21718fd69ec_0_157: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295" name="Google Shape;295;g21718fd69ec_0_157: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4</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g23f2d70337f_0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 name="Google Shape;66;g23f2d70337f_0_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7" name="Google Shape;67;g23f2d70337f_0_0: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68" name="Google Shape;68;g23f2d70337f_0_0: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5</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Google Shape;306;g21718fd69ec_0_17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07" name="Google Shape;307;g21718fd69ec_0_17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08" name="Google Shape;308;g21718fd69ec_0_171: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09" name="Google Shape;309;g21718fd69ec_0_17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5</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9"/>
        <p:cNvGrpSpPr/>
        <p:nvPr/>
      </p:nvGrpSpPr>
      <p:grpSpPr>
        <a:xfrm>
          <a:off x="0" y="0"/>
          <a:ext cx="0" cy="0"/>
          <a:chOff x="0" y="0"/>
          <a:chExt cx="0" cy="0"/>
        </a:xfrm>
      </p:grpSpPr>
      <p:sp>
        <p:nvSpPr>
          <p:cNvPr id="320" name="Google Shape;320;g23f2d70337f_0_1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1" name="Google Shape;321;g23f2d70337f_0_1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22" name="Google Shape;322;g23f2d70337f_0_19: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23" name="Google Shape;323;g23f2d70337f_0_1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6</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2"/>
        <p:cNvGrpSpPr/>
        <p:nvPr/>
      </p:nvGrpSpPr>
      <p:grpSpPr>
        <a:xfrm>
          <a:off x="0" y="0"/>
          <a:ext cx="0" cy="0"/>
          <a:chOff x="0" y="0"/>
          <a:chExt cx="0" cy="0"/>
        </a:xfrm>
      </p:grpSpPr>
      <p:sp>
        <p:nvSpPr>
          <p:cNvPr id="333" name="Google Shape;333;g23f2d70337f_0_3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4" name="Google Shape;334;g23f2d70337f_0_3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35" name="Google Shape;335;g23f2d70337f_0_31: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36" name="Google Shape;336;g23f2d70337f_0_3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7</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g23f2d70337f_0_4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8" name="Google Shape;348;g23f2d70337f_0_4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9" name="Google Shape;349;g23f2d70337f_0_44: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50" name="Google Shape;350;g23f2d70337f_0_4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8</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0"/>
        <p:cNvGrpSpPr/>
        <p:nvPr/>
      </p:nvGrpSpPr>
      <p:grpSpPr>
        <a:xfrm>
          <a:off x="0" y="0"/>
          <a:ext cx="0" cy="0"/>
          <a:chOff x="0" y="0"/>
          <a:chExt cx="0" cy="0"/>
        </a:xfrm>
      </p:grpSpPr>
      <p:sp>
        <p:nvSpPr>
          <p:cNvPr id="361" name="Google Shape;361;g23f2d70337f_0_5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2" name="Google Shape;362;g23f2d70337f_0_5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3" name="Google Shape;363;g23f2d70337f_0_57: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64" name="Google Shape;364;g23f2d70337f_0_57: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29</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3f2d70337f_0_7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7" name="Google Shape;377;g23f2d70337f_0_7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78" name="Google Shape;378;g23f2d70337f_0_71: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79" name="Google Shape;379;g23f2d70337f_0_7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0</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23f2d70337f_0_96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23f2d70337f_0_96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7" name="Google Shape;77;g23f2d70337f_0_969: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8" name="Google Shape;78;g23f2d70337f_0_96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7</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
        <p:cNvGrpSpPr/>
        <p:nvPr/>
      </p:nvGrpSpPr>
      <p:grpSpPr>
        <a:xfrm>
          <a:off x="0" y="0"/>
          <a:ext cx="0" cy="0"/>
          <a:chOff x="0" y="0"/>
          <a:chExt cx="0" cy="0"/>
        </a:xfrm>
      </p:grpSpPr>
      <p:sp>
        <p:nvSpPr>
          <p:cNvPr id="87" name="Google Shape;87;g23f2d70337f_0_104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 name="Google Shape;88;g23f2d70337f_0_104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89" name="Google Shape;89;g23f2d70337f_0_1042: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90" name="Google Shape;90;g23f2d70337f_0_1042: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8</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23f2d70337f_0_105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9" name="Google Shape;99;g23f2d70337f_0_105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00" name="Google Shape;100;g23f2d70337f_0_1055: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01" name="Google Shape;101;g23f2d70337f_0_1055: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9</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Google Shape;109;g23f2d70337f_0_8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0" name="Google Shape;110;g23f2d70337f_0_87: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1" name="Google Shape;111;g23f2d70337f_0_87: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12" name="Google Shape;112;g23f2d70337f_0_87: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1</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
        <p:cNvGrpSpPr/>
        <p:nvPr/>
      </p:nvGrpSpPr>
      <p:grpSpPr>
        <a:xfrm>
          <a:off x="0" y="0"/>
          <a:ext cx="0" cy="0"/>
          <a:chOff x="0" y="0"/>
          <a:chExt cx="0" cy="0"/>
        </a:xfrm>
      </p:grpSpPr>
      <p:sp>
        <p:nvSpPr>
          <p:cNvPr id="128" name="Google Shape;128;g23906be1acd_0_8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9" name="Google Shape;129;g23906be1acd_0_8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0" name="Google Shape;130;g23906be1acd_0_89: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31" name="Google Shape;131;g23906be1acd_0_89: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2</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23906be1acd_0_9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2" name="Google Shape;142;g23906be1acd_0_9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00"/>
              </a:spcBef>
              <a:spcAft>
                <a:spcPts val="300"/>
              </a:spcAft>
              <a:buSzPts val="1100"/>
              <a:buNone/>
            </a:pPr>
            <a:endParaRPr sz="1100">
              <a:highlight>
                <a:schemeClr val="lt1"/>
              </a:highlight>
              <a:latin typeface="Arial"/>
              <a:ea typeface="Arial"/>
              <a:cs typeface="Arial"/>
              <a:sym typeface="Arial"/>
            </a:endParaRPr>
          </a:p>
        </p:txBody>
      </p:sp>
      <p:sp>
        <p:nvSpPr>
          <p:cNvPr id="143" name="Google Shape;143;g23906be1acd_0_98: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44" name="Google Shape;144;g23906be1acd_0_98: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3</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g21718fd69ec_0_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g21718fd69ec_0_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00"/>
              </a:spcBef>
              <a:spcAft>
                <a:spcPts val="300"/>
              </a:spcAft>
              <a:buClr>
                <a:schemeClr val="dk1"/>
              </a:buClr>
              <a:buSzPts val="1100"/>
              <a:buFont typeface="Arial"/>
              <a:buNone/>
            </a:pPr>
            <a:endParaRPr/>
          </a:p>
        </p:txBody>
      </p:sp>
      <p:sp>
        <p:nvSpPr>
          <p:cNvPr id="157" name="Google Shape;157;g21718fd69ec_0_6:notes"/>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xxx</a:t>
            </a: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158" name="Google Shape;158;g21718fd69ec_0_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14</a:t>
            </a:fld>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Page de garde">
  <p:cSld name="Page de garde">
    <p:spTree>
      <p:nvGrpSpPr>
        <p:cNvPr id="1" name="Shape 21"/>
        <p:cNvGrpSpPr/>
        <p:nvPr/>
      </p:nvGrpSpPr>
      <p:grpSpPr>
        <a:xfrm>
          <a:off x="0" y="0"/>
          <a:ext cx="0" cy="0"/>
          <a:chOff x="0" y="0"/>
          <a:chExt cx="0" cy="0"/>
        </a:xfrm>
      </p:grpSpPr>
      <p:sp>
        <p:nvSpPr>
          <p:cNvPr id="22" name="Google Shape;22;p7"/>
          <p:cNvSpPr>
            <a:spLocks noGrp="1"/>
          </p:cNvSpPr>
          <p:nvPr>
            <p:ph type="pic" idx="2"/>
          </p:nvPr>
        </p:nvSpPr>
        <p:spPr>
          <a:xfrm>
            <a:off x="3175" y="0"/>
            <a:ext cx="4993556" cy="5477347"/>
          </a:xfrm>
          <a:prstGeom prst="rect">
            <a:avLst/>
          </a:prstGeom>
          <a:noFill/>
          <a:ln>
            <a:noFill/>
          </a:ln>
        </p:spPr>
      </p:sp>
      <p:sp>
        <p:nvSpPr>
          <p:cNvPr id="23" name="Google Shape;23;p7"/>
          <p:cNvSpPr/>
          <p:nvPr/>
        </p:nvSpPr>
        <p:spPr>
          <a:xfrm>
            <a:off x="4996730" y="-1"/>
            <a:ext cx="4147270" cy="5477348"/>
          </a:xfrm>
          <a:prstGeom prst="rect">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cxnSp>
        <p:nvCxnSpPr>
          <p:cNvPr id="24" name="Google Shape;24;p7"/>
          <p:cNvCxnSpPr/>
          <p:nvPr/>
        </p:nvCxnSpPr>
        <p:spPr>
          <a:xfrm>
            <a:off x="2181747" y="5708499"/>
            <a:ext cx="1756" cy="851217"/>
          </a:xfrm>
          <a:prstGeom prst="straightConnector1">
            <a:avLst/>
          </a:prstGeom>
          <a:noFill/>
          <a:ln w="9525" cap="flat" cmpd="sng">
            <a:solidFill>
              <a:srgbClr val="000003"/>
            </a:solidFill>
            <a:prstDash val="solid"/>
            <a:miter lim="800000"/>
            <a:headEnd type="none" w="sm" len="sm"/>
            <a:tailEnd type="none" w="sm" len="sm"/>
          </a:ln>
        </p:spPr>
      </p:cxnSp>
      <p:sp>
        <p:nvSpPr>
          <p:cNvPr id="25" name="Google Shape;25;p7"/>
          <p:cNvSpPr/>
          <p:nvPr/>
        </p:nvSpPr>
        <p:spPr>
          <a:xfrm>
            <a:off x="5258834" y="2163870"/>
            <a:ext cx="537056" cy="535302"/>
          </a:xfrm>
          <a:custGeom>
            <a:avLst/>
            <a:gdLst/>
            <a:ahLst/>
            <a:cxnLst/>
            <a:rect l="l" t="t" r="r" b="b"/>
            <a:pathLst>
              <a:path w="306" h="305" extrusionOk="0">
                <a:moveTo>
                  <a:pt x="306" y="0"/>
                </a:moveTo>
                <a:lnTo>
                  <a:pt x="0" y="0"/>
                </a:lnTo>
                <a:lnTo>
                  <a:pt x="0" y="305"/>
                </a:lnTo>
                <a:lnTo>
                  <a:pt x="48" y="259"/>
                </a:lnTo>
                <a:lnTo>
                  <a:pt x="48" y="47"/>
                </a:lnTo>
                <a:lnTo>
                  <a:pt x="260" y="47"/>
                </a:lnTo>
                <a:lnTo>
                  <a:pt x="306"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6" name="Google Shape;26;p7"/>
          <p:cNvSpPr/>
          <p:nvPr/>
        </p:nvSpPr>
        <p:spPr>
          <a:xfrm>
            <a:off x="7343281" y="5754131"/>
            <a:ext cx="1379498" cy="405425"/>
          </a:xfrm>
          <a:custGeom>
            <a:avLst/>
            <a:gdLst/>
            <a:ahLst/>
            <a:cxnLst/>
            <a:rect l="l" t="t" r="r" b="b"/>
            <a:pathLst>
              <a:path w="785" h="231" extrusionOk="0">
                <a:moveTo>
                  <a:pt x="779" y="190"/>
                </a:moveTo>
                <a:cubicBezTo>
                  <a:pt x="779" y="207"/>
                  <a:pt x="779" y="207"/>
                  <a:pt x="779" y="207"/>
                </a:cubicBezTo>
                <a:cubicBezTo>
                  <a:pt x="779" y="213"/>
                  <a:pt x="779" y="218"/>
                  <a:pt x="779" y="223"/>
                </a:cubicBezTo>
                <a:cubicBezTo>
                  <a:pt x="779" y="223"/>
                  <a:pt x="779" y="223"/>
                  <a:pt x="779" y="223"/>
                </a:cubicBezTo>
                <a:cubicBezTo>
                  <a:pt x="777" y="219"/>
                  <a:pt x="774" y="215"/>
                  <a:pt x="770" y="210"/>
                </a:cubicBezTo>
                <a:cubicBezTo>
                  <a:pt x="753" y="190"/>
                  <a:pt x="753" y="190"/>
                  <a:pt x="753" y="190"/>
                </a:cubicBezTo>
                <a:cubicBezTo>
                  <a:pt x="746" y="190"/>
                  <a:pt x="746" y="190"/>
                  <a:pt x="746" y="190"/>
                </a:cubicBezTo>
                <a:cubicBezTo>
                  <a:pt x="746" y="230"/>
                  <a:pt x="746" y="230"/>
                  <a:pt x="746" y="230"/>
                </a:cubicBezTo>
                <a:cubicBezTo>
                  <a:pt x="752" y="230"/>
                  <a:pt x="752" y="230"/>
                  <a:pt x="752" y="230"/>
                </a:cubicBezTo>
                <a:cubicBezTo>
                  <a:pt x="752" y="213"/>
                  <a:pt x="752" y="213"/>
                  <a:pt x="752" y="213"/>
                </a:cubicBezTo>
                <a:cubicBezTo>
                  <a:pt x="752" y="206"/>
                  <a:pt x="752" y="201"/>
                  <a:pt x="752" y="196"/>
                </a:cubicBezTo>
                <a:cubicBezTo>
                  <a:pt x="752" y="196"/>
                  <a:pt x="752" y="196"/>
                  <a:pt x="752" y="196"/>
                </a:cubicBezTo>
                <a:cubicBezTo>
                  <a:pt x="754" y="201"/>
                  <a:pt x="758" y="205"/>
                  <a:pt x="761" y="210"/>
                </a:cubicBezTo>
                <a:cubicBezTo>
                  <a:pt x="778" y="230"/>
                  <a:pt x="778" y="230"/>
                  <a:pt x="778" y="230"/>
                </a:cubicBezTo>
                <a:cubicBezTo>
                  <a:pt x="785" y="230"/>
                  <a:pt x="785" y="230"/>
                  <a:pt x="785" y="230"/>
                </a:cubicBezTo>
                <a:cubicBezTo>
                  <a:pt x="785" y="190"/>
                  <a:pt x="785" y="190"/>
                  <a:pt x="785" y="190"/>
                </a:cubicBezTo>
                <a:lnTo>
                  <a:pt x="779" y="190"/>
                </a:lnTo>
                <a:close/>
                <a:moveTo>
                  <a:pt x="708" y="227"/>
                </a:moveTo>
                <a:cubicBezTo>
                  <a:pt x="708" y="227"/>
                  <a:pt x="708" y="227"/>
                  <a:pt x="708" y="227"/>
                </a:cubicBezTo>
                <a:cubicBezTo>
                  <a:pt x="698" y="227"/>
                  <a:pt x="692" y="219"/>
                  <a:pt x="692" y="210"/>
                </a:cubicBezTo>
                <a:cubicBezTo>
                  <a:pt x="692" y="201"/>
                  <a:pt x="697" y="193"/>
                  <a:pt x="709" y="193"/>
                </a:cubicBezTo>
                <a:cubicBezTo>
                  <a:pt x="720" y="193"/>
                  <a:pt x="725" y="202"/>
                  <a:pt x="725" y="210"/>
                </a:cubicBezTo>
                <a:cubicBezTo>
                  <a:pt x="725" y="219"/>
                  <a:pt x="719" y="227"/>
                  <a:pt x="708" y="227"/>
                </a:cubicBezTo>
                <a:moveTo>
                  <a:pt x="709" y="189"/>
                </a:moveTo>
                <a:cubicBezTo>
                  <a:pt x="695" y="189"/>
                  <a:pt x="685" y="197"/>
                  <a:pt x="685" y="210"/>
                </a:cubicBezTo>
                <a:cubicBezTo>
                  <a:pt x="685" y="223"/>
                  <a:pt x="694" y="231"/>
                  <a:pt x="708" y="231"/>
                </a:cubicBezTo>
                <a:cubicBezTo>
                  <a:pt x="708" y="231"/>
                  <a:pt x="708" y="231"/>
                  <a:pt x="708" y="231"/>
                </a:cubicBezTo>
                <a:cubicBezTo>
                  <a:pt x="722" y="231"/>
                  <a:pt x="733" y="223"/>
                  <a:pt x="733" y="210"/>
                </a:cubicBezTo>
                <a:cubicBezTo>
                  <a:pt x="733" y="197"/>
                  <a:pt x="723" y="189"/>
                  <a:pt x="709" y="189"/>
                </a:cubicBezTo>
                <a:moveTo>
                  <a:pt x="665" y="230"/>
                </a:moveTo>
                <a:cubicBezTo>
                  <a:pt x="671" y="230"/>
                  <a:pt x="671" y="230"/>
                  <a:pt x="671" y="230"/>
                </a:cubicBezTo>
                <a:cubicBezTo>
                  <a:pt x="671" y="190"/>
                  <a:pt x="671" y="190"/>
                  <a:pt x="671" y="190"/>
                </a:cubicBezTo>
                <a:cubicBezTo>
                  <a:pt x="665" y="190"/>
                  <a:pt x="665" y="190"/>
                  <a:pt x="665" y="190"/>
                </a:cubicBezTo>
                <a:lnTo>
                  <a:pt x="665" y="230"/>
                </a:lnTo>
                <a:close/>
                <a:moveTo>
                  <a:pt x="616" y="194"/>
                </a:moveTo>
                <a:cubicBezTo>
                  <a:pt x="632" y="194"/>
                  <a:pt x="632" y="194"/>
                  <a:pt x="632" y="194"/>
                </a:cubicBezTo>
                <a:cubicBezTo>
                  <a:pt x="632" y="230"/>
                  <a:pt x="632" y="230"/>
                  <a:pt x="632" y="230"/>
                </a:cubicBezTo>
                <a:cubicBezTo>
                  <a:pt x="639" y="230"/>
                  <a:pt x="639" y="230"/>
                  <a:pt x="639" y="230"/>
                </a:cubicBezTo>
                <a:cubicBezTo>
                  <a:pt x="639" y="194"/>
                  <a:pt x="639" y="194"/>
                  <a:pt x="639" y="194"/>
                </a:cubicBezTo>
                <a:cubicBezTo>
                  <a:pt x="655" y="194"/>
                  <a:pt x="655" y="194"/>
                  <a:pt x="655" y="194"/>
                </a:cubicBezTo>
                <a:cubicBezTo>
                  <a:pt x="655" y="190"/>
                  <a:pt x="655" y="190"/>
                  <a:pt x="655" y="190"/>
                </a:cubicBezTo>
                <a:cubicBezTo>
                  <a:pt x="616" y="190"/>
                  <a:pt x="616" y="190"/>
                  <a:pt x="616" y="190"/>
                </a:cubicBezTo>
                <a:lnTo>
                  <a:pt x="616" y="194"/>
                </a:lnTo>
                <a:close/>
                <a:moveTo>
                  <a:pt x="586" y="213"/>
                </a:moveTo>
                <a:cubicBezTo>
                  <a:pt x="591" y="202"/>
                  <a:pt x="591" y="202"/>
                  <a:pt x="591" y="202"/>
                </a:cubicBezTo>
                <a:cubicBezTo>
                  <a:pt x="592" y="199"/>
                  <a:pt x="593" y="197"/>
                  <a:pt x="593" y="194"/>
                </a:cubicBezTo>
                <a:cubicBezTo>
                  <a:pt x="594" y="194"/>
                  <a:pt x="594" y="194"/>
                  <a:pt x="594" y="194"/>
                </a:cubicBezTo>
                <a:cubicBezTo>
                  <a:pt x="595" y="197"/>
                  <a:pt x="595" y="199"/>
                  <a:pt x="596" y="202"/>
                </a:cubicBezTo>
                <a:cubicBezTo>
                  <a:pt x="602" y="213"/>
                  <a:pt x="602" y="213"/>
                  <a:pt x="602" y="213"/>
                </a:cubicBezTo>
                <a:lnTo>
                  <a:pt x="586" y="213"/>
                </a:lnTo>
                <a:close/>
                <a:moveTo>
                  <a:pt x="590" y="190"/>
                </a:moveTo>
                <a:cubicBezTo>
                  <a:pt x="572" y="230"/>
                  <a:pt x="572" y="230"/>
                  <a:pt x="572" y="230"/>
                </a:cubicBezTo>
                <a:cubicBezTo>
                  <a:pt x="579" y="230"/>
                  <a:pt x="579" y="230"/>
                  <a:pt x="579" y="230"/>
                </a:cubicBezTo>
                <a:cubicBezTo>
                  <a:pt x="584" y="218"/>
                  <a:pt x="584" y="218"/>
                  <a:pt x="584" y="218"/>
                </a:cubicBezTo>
                <a:cubicBezTo>
                  <a:pt x="603" y="218"/>
                  <a:pt x="603" y="218"/>
                  <a:pt x="603" y="218"/>
                </a:cubicBezTo>
                <a:cubicBezTo>
                  <a:pt x="609" y="230"/>
                  <a:pt x="609" y="230"/>
                  <a:pt x="609" y="230"/>
                </a:cubicBezTo>
                <a:cubicBezTo>
                  <a:pt x="616" y="230"/>
                  <a:pt x="616" y="230"/>
                  <a:pt x="616" y="230"/>
                </a:cubicBezTo>
                <a:cubicBezTo>
                  <a:pt x="598" y="190"/>
                  <a:pt x="598" y="190"/>
                  <a:pt x="598" y="190"/>
                </a:cubicBezTo>
                <a:lnTo>
                  <a:pt x="590" y="190"/>
                </a:lnTo>
                <a:close/>
                <a:moveTo>
                  <a:pt x="549" y="207"/>
                </a:moveTo>
                <a:cubicBezTo>
                  <a:pt x="542" y="205"/>
                  <a:pt x="539" y="203"/>
                  <a:pt x="539" y="199"/>
                </a:cubicBezTo>
                <a:cubicBezTo>
                  <a:pt x="539" y="197"/>
                  <a:pt x="542" y="193"/>
                  <a:pt x="549" y="193"/>
                </a:cubicBezTo>
                <a:cubicBezTo>
                  <a:pt x="554" y="193"/>
                  <a:pt x="557" y="194"/>
                  <a:pt x="559" y="195"/>
                </a:cubicBezTo>
                <a:cubicBezTo>
                  <a:pt x="561" y="191"/>
                  <a:pt x="561" y="191"/>
                  <a:pt x="561" y="191"/>
                </a:cubicBezTo>
                <a:cubicBezTo>
                  <a:pt x="558" y="190"/>
                  <a:pt x="554" y="189"/>
                  <a:pt x="549" y="189"/>
                </a:cubicBezTo>
                <a:cubicBezTo>
                  <a:pt x="539" y="189"/>
                  <a:pt x="532" y="194"/>
                  <a:pt x="532" y="200"/>
                </a:cubicBezTo>
                <a:cubicBezTo>
                  <a:pt x="532" y="206"/>
                  <a:pt x="537" y="209"/>
                  <a:pt x="546" y="212"/>
                </a:cubicBezTo>
                <a:cubicBezTo>
                  <a:pt x="553" y="214"/>
                  <a:pt x="556" y="216"/>
                  <a:pt x="556" y="220"/>
                </a:cubicBezTo>
                <a:cubicBezTo>
                  <a:pt x="556" y="224"/>
                  <a:pt x="552" y="227"/>
                  <a:pt x="545" y="227"/>
                </a:cubicBezTo>
                <a:cubicBezTo>
                  <a:pt x="540" y="227"/>
                  <a:pt x="536" y="225"/>
                  <a:pt x="533" y="224"/>
                </a:cubicBezTo>
                <a:cubicBezTo>
                  <a:pt x="531" y="228"/>
                  <a:pt x="531" y="228"/>
                  <a:pt x="531" y="228"/>
                </a:cubicBezTo>
                <a:cubicBezTo>
                  <a:pt x="534" y="230"/>
                  <a:pt x="539" y="231"/>
                  <a:pt x="544" y="231"/>
                </a:cubicBezTo>
                <a:cubicBezTo>
                  <a:pt x="557" y="231"/>
                  <a:pt x="563" y="225"/>
                  <a:pt x="563" y="219"/>
                </a:cubicBezTo>
                <a:cubicBezTo>
                  <a:pt x="563" y="213"/>
                  <a:pt x="558" y="210"/>
                  <a:pt x="549" y="207"/>
                </a:cubicBezTo>
                <a:moveTo>
                  <a:pt x="511" y="230"/>
                </a:moveTo>
                <a:cubicBezTo>
                  <a:pt x="518" y="230"/>
                  <a:pt x="518" y="230"/>
                  <a:pt x="518" y="230"/>
                </a:cubicBezTo>
                <a:cubicBezTo>
                  <a:pt x="518" y="190"/>
                  <a:pt x="518" y="190"/>
                  <a:pt x="518" y="190"/>
                </a:cubicBezTo>
                <a:cubicBezTo>
                  <a:pt x="511" y="190"/>
                  <a:pt x="511" y="190"/>
                  <a:pt x="511" y="190"/>
                </a:cubicBezTo>
                <a:lnTo>
                  <a:pt x="511" y="230"/>
                </a:lnTo>
                <a:close/>
                <a:moveTo>
                  <a:pt x="477" y="190"/>
                </a:moveTo>
                <a:cubicBezTo>
                  <a:pt x="470" y="190"/>
                  <a:pt x="470" y="190"/>
                  <a:pt x="470" y="190"/>
                </a:cubicBezTo>
                <a:cubicBezTo>
                  <a:pt x="470" y="230"/>
                  <a:pt x="470" y="230"/>
                  <a:pt x="470" y="230"/>
                </a:cubicBezTo>
                <a:cubicBezTo>
                  <a:pt x="500" y="230"/>
                  <a:pt x="500" y="230"/>
                  <a:pt x="500" y="230"/>
                </a:cubicBezTo>
                <a:cubicBezTo>
                  <a:pt x="500" y="226"/>
                  <a:pt x="500" y="226"/>
                  <a:pt x="500" y="226"/>
                </a:cubicBezTo>
                <a:cubicBezTo>
                  <a:pt x="477" y="226"/>
                  <a:pt x="477" y="226"/>
                  <a:pt x="477" y="226"/>
                </a:cubicBezTo>
                <a:lnTo>
                  <a:pt x="477" y="190"/>
                </a:lnTo>
                <a:close/>
                <a:moveTo>
                  <a:pt x="428" y="213"/>
                </a:moveTo>
                <a:cubicBezTo>
                  <a:pt x="433" y="202"/>
                  <a:pt x="433" y="202"/>
                  <a:pt x="433" y="202"/>
                </a:cubicBezTo>
                <a:cubicBezTo>
                  <a:pt x="434" y="199"/>
                  <a:pt x="435" y="197"/>
                  <a:pt x="436" y="194"/>
                </a:cubicBezTo>
                <a:cubicBezTo>
                  <a:pt x="436" y="194"/>
                  <a:pt x="436" y="194"/>
                  <a:pt x="436" y="194"/>
                </a:cubicBezTo>
                <a:cubicBezTo>
                  <a:pt x="437" y="197"/>
                  <a:pt x="438" y="199"/>
                  <a:pt x="439" y="202"/>
                </a:cubicBezTo>
                <a:cubicBezTo>
                  <a:pt x="444" y="213"/>
                  <a:pt x="444" y="213"/>
                  <a:pt x="444" y="213"/>
                </a:cubicBezTo>
                <a:lnTo>
                  <a:pt x="428" y="213"/>
                </a:lnTo>
                <a:close/>
                <a:moveTo>
                  <a:pt x="432" y="190"/>
                </a:moveTo>
                <a:cubicBezTo>
                  <a:pt x="414" y="230"/>
                  <a:pt x="414" y="230"/>
                  <a:pt x="414" y="230"/>
                </a:cubicBezTo>
                <a:cubicBezTo>
                  <a:pt x="421" y="230"/>
                  <a:pt x="421" y="230"/>
                  <a:pt x="421" y="230"/>
                </a:cubicBezTo>
                <a:cubicBezTo>
                  <a:pt x="427" y="218"/>
                  <a:pt x="427" y="218"/>
                  <a:pt x="427" y="218"/>
                </a:cubicBezTo>
                <a:cubicBezTo>
                  <a:pt x="445" y="218"/>
                  <a:pt x="445" y="218"/>
                  <a:pt x="445" y="218"/>
                </a:cubicBezTo>
                <a:cubicBezTo>
                  <a:pt x="451" y="230"/>
                  <a:pt x="451" y="230"/>
                  <a:pt x="451" y="230"/>
                </a:cubicBezTo>
                <a:cubicBezTo>
                  <a:pt x="458" y="230"/>
                  <a:pt x="458" y="230"/>
                  <a:pt x="458" y="230"/>
                </a:cubicBezTo>
                <a:cubicBezTo>
                  <a:pt x="440" y="190"/>
                  <a:pt x="440" y="190"/>
                  <a:pt x="440" y="190"/>
                </a:cubicBezTo>
                <a:lnTo>
                  <a:pt x="432" y="190"/>
                </a:lnTo>
                <a:close/>
                <a:moveTo>
                  <a:pt x="391" y="190"/>
                </a:moveTo>
                <a:cubicBezTo>
                  <a:pt x="382" y="209"/>
                  <a:pt x="382" y="209"/>
                  <a:pt x="382" y="209"/>
                </a:cubicBezTo>
                <a:cubicBezTo>
                  <a:pt x="379" y="214"/>
                  <a:pt x="378" y="219"/>
                  <a:pt x="376" y="223"/>
                </a:cubicBezTo>
                <a:cubicBezTo>
                  <a:pt x="376" y="223"/>
                  <a:pt x="376" y="223"/>
                  <a:pt x="376" y="223"/>
                </a:cubicBezTo>
                <a:cubicBezTo>
                  <a:pt x="375" y="219"/>
                  <a:pt x="373" y="214"/>
                  <a:pt x="371" y="209"/>
                </a:cubicBezTo>
                <a:cubicBezTo>
                  <a:pt x="362" y="190"/>
                  <a:pt x="362" y="190"/>
                  <a:pt x="362" y="190"/>
                </a:cubicBezTo>
                <a:cubicBezTo>
                  <a:pt x="353" y="190"/>
                  <a:pt x="353" y="190"/>
                  <a:pt x="353" y="190"/>
                </a:cubicBezTo>
                <a:cubicBezTo>
                  <a:pt x="349" y="230"/>
                  <a:pt x="349" y="230"/>
                  <a:pt x="349" y="230"/>
                </a:cubicBezTo>
                <a:cubicBezTo>
                  <a:pt x="356" y="230"/>
                  <a:pt x="356" y="230"/>
                  <a:pt x="356" y="230"/>
                </a:cubicBezTo>
                <a:cubicBezTo>
                  <a:pt x="357" y="213"/>
                  <a:pt x="357" y="213"/>
                  <a:pt x="357" y="213"/>
                </a:cubicBezTo>
                <a:cubicBezTo>
                  <a:pt x="358" y="207"/>
                  <a:pt x="358" y="200"/>
                  <a:pt x="358" y="195"/>
                </a:cubicBezTo>
                <a:cubicBezTo>
                  <a:pt x="359" y="195"/>
                  <a:pt x="359" y="195"/>
                  <a:pt x="359" y="195"/>
                </a:cubicBezTo>
                <a:cubicBezTo>
                  <a:pt x="360" y="200"/>
                  <a:pt x="362" y="205"/>
                  <a:pt x="365" y="211"/>
                </a:cubicBezTo>
                <a:cubicBezTo>
                  <a:pt x="373" y="230"/>
                  <a:pt x="373" y="230"/>
                  <a:pt x="373" y="230"/>
                </a:cubicBezTo>
                <a:cubicBezTo>
                  <a:pt x="378" y="230"/>
                  <a:pt x="378" y="230"/>
                  <a:pt x="378" y="230"/>
                </a:cubicBezTo>
                <a:cubicBezTo>
                  <a:pt x="388" y="210"/>
                  <a:pt x="388" y="210"/>
                  <a:pt x="388" y="210"/>
                </a:cubicBezTo>
                <a:cubicBezTo>
                  <a:pt x="390" y="205"/>
                  <a:pt x="392" y="200"/>
                  <a:pt x="394" y="195"/>
                </a:cubicBezTo>
                <a:cubicBezTo>
                  <a:pt x="394" y="195"/>
                  <a:pt x="394" y="195"/>
                  <a:pt x="394" y="195"/>
                </a:cubicBezTo>
                <a:cubicBezTo>
                  <a:pt x="394" y="200"/>
                  <a:pt x="395" y="207"/>
                  <a:pt x="395" y="212"/>
                </a:cubicBezTo>
                <a:cubicBezTo>
                  <a:pt x="396" y="230"/>
                  <a:pt x="396" y="230"/>
                  <a:pt x="396" y="230"/>
                </a:cubicBezTo>
                <a:cubicBezTo>
                  <a:pt x="403" y="230"/>
                  <a:pt x="403" y="230"/>
                  <a:pt x="403" y="230"/>
                </a:cubicBezTo>
                <a:cubicBezTo>
                  <a:pt x="400" y="190"/>
                  <a:pt x="400" y="190"/>
                  <a:pt x="400" y="190"/>
                </a:cubicBezTo>
                <a:lnTo>
                  <a:pt x="391" y="190"/>
                </a:lnTo>
                <a:close/>
                <a:moveTo>
                  <a:pt x="316" y="209"/>
                </a:moveTo>
                <a:cubicBezTo>
                  <a:pt x="309" y="209"/>
                  <a:pt x="309" y="209"/>
                  <a:pt x="309" y="209"/>
                </a:cubicBezTo>
                <a:cubicBezTo>
                  <a:pt x="309" y="194"/>
                  <a:pt x="309" y="194"/>
                  <a:pt x="309" y="194"/>
                </a:cubicBezTo>
                <a:cubicBezTo>
                  <a:pt x="310" y="194"/>
                  <a:pt x="313" y="193"/>
                  <a:pt x="316" y="193"/>
                </a:cubicBezTo>
                <a:cubicBezTo>
                  <a:pt x="323" y="193"/>
                  <a:pt x="328" y="196"/>
                  <a:pt x="328" y="201"/>
                </a:cubicBezTo>
                <a:cubicBezTo>
                  <a:pt x="328" y="206"/>
                  <a:pt x="323" y="209"/>
                  <a:pt x="316" y="209"/>
                </a:cubicBezTo>
                <a:moveTo>
                  <a:pt x="325" y="211"/>
                </a:moveTo>
                <a:cubicBezTo>
                  <a:pt x="325" y="211"/>
                  <a:pt x="325" y="211"/>
                  <a:pt x="325" y="211"/>
                </a:cubicBezTo>
                <a:cubicBezTo>
                  <a:pt x="330" y="209"/>
                  <a:pt x="335" y="206"/>
                  <a:pt x="335" y="200"/>
                </a:cubicBezTo>
                <a:cubicBezTo>
                  <a:pt x="335" y="197"/>
                  <a:pt x="333" y="194"/>
                  <a:pt x="331" y="193"/>
                </a:cubicBezTo>
                <a:cubicBezTo>
                  <a:pt x="327" y="190"/>
                  <a:pt x="323" y="189"/>
                  <a:pt x="315" y="189"/>
                </a:cubicBezTo>
                <a:cubicBezTo>
                  <a:pt x="311" y="189"/>
                  <a:pt x="306" y="190"/>
                  <a:pt x="302" y="190"/>
                </a:cubicBezTo>
                <a:cubicBezTo>
                  <a:pt x="302" y="230"/>
                  <a:pt x="302" y="230"/>
                  <a:pt x="302" y="230"/>
                </a:cubicBezTo>
                <a:cubicBezTo>
                  <a:pt x="309" y="230"/>
                  <a:pt x="309" y="230"/>
                  <a:pt x="309" y="230"/>
                </a:cubicBezTo>
                <a:cubicBezTo>
                  <a:pt x="309" y="213"/>
                  <a:pt x="309" y="213"/>
                  <a:pt x="309" y="213"/>
                </a:cubicBezTo>
                <a:cubicBezTo>
                  <a:pt x="316" y="213"/>
                  <a:pt x="316" y="213"/>
                  <a:pt x="316" y="213"/>
                </a:cubicBezTo>
                <a:cubicBezTo>
                  <a:pt x="322" y="213"/>
                  <a:pt x="325" y="215"/>
                  <a:pt x="326" y="221"/>
                </a:cubicBezTo>
                <a:cubicBezTo>
                  <a:pt x="328" y="226"/>
                  <a:pt x="329" y="229"/>
                  <a:pt x="330" y="230"/>
                </a:cubicBezTo>
                <a:cubicBezTo>
                  <a:pt x="337" y="230"/>
                  <a:pt x="337" y="230"/>
                  <a:pt x="337" y="230"/>
                </a:cubicBezTo>
                <a:cubicBezTo>
                  <a:pt x="336" y="229"/>
                  <a:pt x="334" y="225"/>
                  <a:pt x="333" y="219"/>
                </a:cubicBezTo>
                <a:cubicBezTo>
                  <a:pt x="331" y="215"/>
                  <a:pt x="329" y="212"/>
                  <a:pt x="325" y="211"/>
                </a:cubicBezTo>
                <a:moveTo>
                  <a:pt x="266" y="227"/>
                </a:moveTo>
                <a:cubicBezTo>
                  <a:pt x="266" y="227"/>
                  <a:pt x="266" y="227"/>
                  <a:pt x="266" y="227"/>
                </a:cubicBezTo>
                <a:cubicBezTo>
                  <a:pt x="256" y="227"/>
                  <a:pt x="250" y="219"/>
                  <a:pt x="250" y="210"/>
                </a:cubicBezTo>
                <a:cubicBezTo>
                  <a:pt x="250" y="201"/>
                  <a:pt x="255" y="193"/>
                  <a:pt x="266" y="193"/>
                </a:cubicBezTo>
                <a:cubicBezTo>
                  <a:pt x="278" y="193"/>
                  <a:pt x="283" y="202"/>
                  <a:pt x="283" y="210"/>
                </a:cubicBezTo>
                <a:cubicBezTo>
                  <a:pt x="283" y="219"/>
                  <a:pt x="277" y="227"/>
                  <a:pt x="266" y="227"/>
                </a:cubicBezTo>
                <a:moveTo>
                  <a:pt x="267" y="189"/>
                </a:moveTo>
                <a:cubicBezTo>
                  <a:pt x="253" y="189"/>
                  <a:pt x="242" y="197"/>
                  <a:pt x="242" y="210"/>
                </a:cubicBezTo>
                <a:cubicBezTo>
                  <a:pt x="242" y="223"/>
                  <a:pt x="252" y="231"/>
                  <a:pt x="266" y="231"/>
                </a:cubicBezTo>
                <a:cubicBezTo>
                  <a:pt x="266" y="231"/>
                  <a:pt x="266" y="231"/>
                  <a:pt x="266" y="231"/>
                </a:cubicBezTo>
                <a:cubicBezTo>
                  <a:pt x="279" y="231"/>
                  <a:pt x="290" y="223"/>
                  <a:pt x="290" y="210"/>
                </a:cubicBezTo>
                <a:cubicBezTo>
                  <a:pt x="290" y="197"/>
                  <a:pt x="281" y="189"/>
                  <a:pt x="267" y="189"/>
                </a:cubicBezTo>
                <a:moveTo>
                  <a:pt x="224" y="207"/>
                </a:moveTo>
                <a:cubicBezTo>
                  <a:pt x="224" y="213"/>
                  <a:pt x="224" y="218"/>
                  <a:pt x="224" y="223"/>
                </a:cubicBezTo>
                <a:cubicBezTo>
                  <a:pt x="224" y="223"/>
                  <a:pt x="224" y="223"/>
                  <a:pt x="224" y="223"/>
                </a:cubicBezTo>
                <a:cubicBezTo>
                  <a:pt x="222" y="219"/>
                  <a:pt x="219" y="215"/>
                  <a:pt x="215" y="210"/>
                </a:cubicBezTo>
                <a:cubicBezTo>
                  <a:pt x="198" y="190"/>
                  <a:pt x="198" y="190"/>
                  <a:pt x="198" y="190"/>
                </a:cubicBezTo>
                <a:cubicBezTo>
                  <a:pt x="191" y="190"/>
                  <a:pt x="191" y="190"/>
                  <a:pt x="191" y="190"/>
                </a:cubicBezTo>
                <a:cubicBezTo>
                  <a:pt x="191" y="230"/>
                  <a:pt x="191" y="230"/>
                  <a:pt x="191" y="230"/>
                </a:cubicBezTo>
                <a:cubicBezTo>
                  <a:pt x="197" y="230"/>
                  <a:pt x="197" y="230"/>
                  <a:pt x="197" y="230"/>
                </a:cubicBezTo>
                <a:cubicBezTo>
                  <a:pt x="197" y="213"/>
                  <a:pt x="197" y="213"/>
                  <a:pt x="197" y="213"/>
                </a:cubicBezTo>
                <a:cubicBezTo>
                  <a:pt x="197" y="206"/>
                  <a:pt x="197" y="201"/>
                  <a:pt x="197" y="196"/>
                </a:cubicBezTo>
                <a:cubicBezTo>
                  <a:pt x="197" y="196"/>
                  <a:pt x="197" y="196"/>
                  <a:pt x="197" y="196"/>
                </a:cubicBezTo>
                <a:cubicBezTo>
                  <a:pt x="199" y="201"/>
                  <a:pt x="203" y="205"/>
                  <a:pt x="206" y="210"/>
                </a:cubicBezTo>
                <a:cubicBezTo>
                  <a:pt x="223" y="230"/>
                  <a:pt x="223" y="230"/>
                  <a:pt x="223" y="230"/>
                </a:cubicBezTo>
                <a:cubicBezTo>
                  <a:pt x="230" y="230"/>
                  <a:pt x="230" y="230"/>
                  <a:pt x="230" y="230"/>
                </a:cubicBezTo>
                <a:cubicBezTo>
                  <a:pt x="230" y="190"/>
                  <a:pt x="230" y="190"/>
                  <a:pt x="230" y="190"/>
                </a:cubicBezTo>
                <a:cubicBezTo>
                  <a:pt x="224" y="190"/>
                  <a:pt x="224" y="190"/>
                  <a:pt x="224" y="190"/>
                </a:cubicBezTo>
                <a:lnTo>
                  <a:pt x="224" y="207"/>
                </a:lnTo>
                <a:close/>
                <a:moveTo>
                  <a:pt x="84" y="143"/>
                </a:moveTo>
                <a:cubicBezTo>
                  <a:pt x="57" y="143"/>
                  <a:pt x="57" y="143"/>
                  <a:pt x="57" y="143"/>
                </a:cubicBezTo>
                <a:cubicBezTo>
                  <a:pt x="57" y="143"/>
                  <a:pt x="57" y="143"/>
                  <a:pt x="57" y="143"/>
                </a:cubicBezTo>
                <a:cubicBezTo>
                  <a:pt x="57" y="143"/>
                  <a:pt x="57" y="143"/>
                  <a:pt x="57" y="143"/>
                </a:cubicBezTo>
                <a:cubicBezTo>
                  <a:pt x="49" y="142"/>
                  <a:pt x="44" y="141"/>
                  <a:pt x="39" y="139"/>
                </a:cubicBezTo>
                <a:cubicBezTo>
                  <a:pt x="34" y="137"/>
                  <a:pt x="31" y="134"/>
                  <a:pt x="31" y="129"/>
                </a:cubicBezTo>
                <a:cubicBezTo>
                  <a:pt x="31" y="125"/>
                  <a:pt x="31" y="118"/>
                  <a:pt x="35" y="113"/>
                </a:cubicBezTo>
                <a:cubicBezTo>
                  <a:pt x="40" y="105"/>
                  <a:pt x="56" y="99"/>
                  <a:pt x="56" y="99"/>
                </a:cubicBezTo>
                <a:cubicBezTo>
                  <a:pt x="65" y="95"/>
                  <a:pt x="76" y="91"/>
                  <a:pt x="89" y="88"/>
                </a:cubicBezTo>
                <a:lnTo>
                  <a:pt x="84" y="143"/>
                </a:lnTo>
                <a:close/>
                <a:moveTo>
                  <a:pt x="105" y="45"/>
                </a:moveTo>
                <a:cubicBezTo>
                  <a:pt x="95" y="41"/>
                  <a:pt x="83" y="39"/>
                  <a:pt x="57" y="39"/>
                </a:cubicBezTo>
                <a:cubicBezTo>
                  <a:pt x="34" y="39"/>
                  <a:pt x="34" y="39"/>
                  <a:pt x="34" y="39"/>
                </a:cubicBezTo>
                <a:cubicBezTo>
                  <a:pt x="34" y="44"/>
                  <a:pt x="36" y="50"/>
                  <a:pt x="42" y="53"/>
                </a:cubicBezTo>
                <a:cubicBezTo>
                  <a:pt x="56" y="53"/>
                  <a:pt x="56" y="53"/>
                  <a:pt x="56" y="53"/>
                </a:cubicBezTo>
                <a:cubicBezTo>
                  <a:pt x="72" y="53"/>
                  <a:pt x="80" y="55"/>
                  <a:pt x="82" y="56"/>
                </a:cubicBezTo>
                <a:cubicBezTo>
                  <a:pt x="88" y="59"/>
                  <a:pt x="91" y="63"/>
                  <a:pt x="90" y="69"/>
                </a:cubicBezTo>
                <a:cubicBezTo>
                  <a:pt x="90" y="73"/>
                  <a:pt x="90" y="73"/>
                  <a:pt x="90" y="73"/>
                </a:cubicBezTo>
                <a:cubicBezTo>
                  <a:pt x="58" y="82"/>
                  <a:pt x="29" y="92"/>
                  <a:pt x="15" y="103"/>
                </a:cubicBezTo>
                <a:cubicBezTo>
                  <a:pt x="6" y="108"/>
                  <a:pt x="2" y="116"/>
                  <a:pt x="1" y="125"/>
                </a:cubicBezTo>
                <a:cubicBezTo>
                  <a:pt x="0" y="136"/>
                  <a:pt x="4" y="145"/>
                  <a:pt x="16" y="151"/>
                </a:cubicBezTo>
                <a:cubicBezTo>
                  <a:pt x="28" y="156"/>
                  <a:pt x="42" y="157"/>
                  <a:pt x="62" y="157"/>
                </a:cubicBezTo>
                <a:cubicBezTo>
                  <a:pt x="79" y="157"/>
                  <a:pt x="79" y="157"/>
                  <a:pt x="79" y="157"/>
                </a:cubicBezTo>
                <a:cubicBezTo>
                  <a:pt x="85" y="157"/>
                  <a:pt x="93" y="156"/>
                  <a:pt x="98" y="154"/>
                </a:cubicBezTo>
                <a:cubicBezTo>
                  <a:pt x="112" y="148"/>
                  <a:pt x="115" y="136"/>
                  <a:pt x="116" y="125"/>
                </a:cubicBezTo>
                <a:cubicBezTo>
                  <a:pt x="121" y="65"/>
                  <a:pt x="121" y="65"/>
                  <a:pt x="121" y="65"/>
                </a:cubicBezTo>
                <a:cubicBezTo>
                  <a:pt x="120" y="56"/>
                  <a:pt x="115" y="49"/>
                  <a:pt x="105" y="45"/>
                </a:cubicBezTo>
                <a:moveTo>
                  <a:pt x="176" y="53"/>
                </a:moveTo>
                <a:cubicBezTo>
                  <a:pt x="178" y="31"/>
                  <a:pt x="178" y="31"/>
                  <a:pt x="178" y="31"/>
                </a:cubicBezTo>
                <a:cubicBezTo>
                  <a:pt x="179" y="24"/>
                  <a:pt x="180" y="20"/>
                  <a:pt x="186" y="18"/>
                </a:cubicBezTo>
                <a:cubicBezTo>
                  <a:pt x="192" y="16"/>
                  <a:pt x="201" y="15"/>
                  <a:pt x="212" y="15"/>
                </a:cubicBezTo>
                <a:cubicBezTo>
                  <a:pt x="238" y="15"/>
                  <a:pt x="238" y="15"/>
                  <a:pt x="238" y="15"/>
                </a:cubicBezTo>
                <a:cubicBezTo>
                  <a:pt x="244" y="12"/>
                  <a:pt x="246" y="6"/>
                  <a:pt x="246" y="0"/>
                </a:cubicBezTo>
                <a:cubicBezTo>
                  <a:pt x="212" y="0"/>
                  <a:pt x="212" y="0"/>
                  <a:pt x="212" y="0"/>
                </a:cubicBezTo>
                <a:cubicBezTo>
                  <a:pt x="192" y="0"/>
                  <a:pt x="180" y="2"/>
                  <a:pt x="168" y="7"/>
                </a:cubicBezTo>
                <a:cubicBezTo>
                  <a:pt x="154" y="12"/>
                  <a:pt x="149" y="21"/>
                  <a:pt x="148" y="32"/>
                </a:cubicBezTo>
                <a:cubicBezTo>
                  <a:pt x="146" y="59"/>
                  <a:pt x="146" y="59"/>
                  <a:pt x="146" y="59"/>
                </a:cubicBezTo>
                <a:cubicBezTo>
                  <a:pt x="141" y="60"/>
                  <a:pt x="136" y="61"/>
                  <a:pt x="132" y="62"/>
                </a:cubicBezTo>
                <a:cubicBezTo>
                  <a:pt x="127" y="67"/>
                  <a:pt x="126" y="73"/>
                  <a:pt x="127" y="79"/>
                </a:cubicBezTo>
                <a:cubicBezTo>
                  <a:pt x="127" y="79"/>
                  <a:pt x="127" y="79"/>
                  <a:pt x="127" y="79"/>
                </a:cubicBezTo>
                <a:cubicBezTo>
                  <a:pt x="132" y="77"/>
                  <a:pt x="139" y="76"/>
                  <a:pt x="144" y="75"/>
                </a:cubicBezTo>
                <a:cubicBezTo>
                  <a:pt x="138" y="156"/>
                  <a:pt x="138" y="156"/>
                  <a:pt x="138" y="156"/>
                </a:cubicBezTo>
                <a:cubicBezTo>
                  <a:pt x="168" y="156"/>
                  <a:pt x="168" y="156"/>
                  <a:pt x="168" y="156"/>
                </a:cubicBezTo>
                <a:cubicBezTo>
                  <a:pt x="175" y="68"/>
                  <a:pt x="175" y="68"/>
                  <a:pt x="175" y="68"/>
                </a:cubicBezTo>
                <a:cubicBezTo>
                  <a:pt x="251" y="53"/>
                  <a:pt x="314" y="49"/>
                  <a:pt x="465" y="49"/>
                </a:cubicBezTo>
                <a:cubicBezTo>
                  <a:pt x="469" y="46"/>
                  <a:pt x="470" y="43"/>
                  <a:pt x="471" y="39"/>
                </a:cubicBezTo>
                <a:cubicBezTo>
                  <a:pt x="345" y="39"/>
                  <a:pt x="248" y="40"/>
                  <a:pt x="176" y="53"/>
                </a:cubicBezTo>
                <a:moveTo>
                  <a:pt x="435" y="95"/>
                </a:moveTo>
                <a:cubicBezTo>
                  <a:pt x="433" y="127"/>
                  <a:pt x="433" y="127"/>
                  <a:pt x="433" y="127"/>
                </a:cubicBezTo>
                <a:cubicBezTo>
                  <a:pt x="432" y="133"/>
                  <a:pt x="429" y="137"/>
                  <a:pt x="423" y="139"/>
                </a:cubicBezTo>
                <a:cubicBezTo>
                  <a:pt x="417" y="142"/>
                  <a:pt x="409" y="143"/>
                  <a:pt x="399" y="143"/>
                </a:cubicBezTo>
                <a:cubicBezTo>
                  <a:pt x="390" y="143"/>
                  <a:pt x="382" y="142"/>
                  <a:pt x="377" y="139"/>
                </a:cubicBezTo>
                <a:cubicBezTo>
                  <a:pt x="371" y="137"/>
                  <a:pt x="368" y="133"/>
                  <a:pt x="369" y="127"/>
                </a:cubicBezTo>
                <a:cubicBezTo>
                  <a:pt x="372" y="95"/>
                  <a:pt x="372" y="95"/>
                  <a:pt x="372" y="95"/>
                </a:cubicBezTo>
                <a:cubicBezTo>
                  <a:pt x="372" y="89"/>
                  <a:pt x="376" y="85"/>
                  <a:pt x="382" y="83"/>
                </a:cubicBezTo>
                <a:cubicBezTo>
                  <a:pt x="387" y="81"/>
                  <a:pt x="395" y="79"/>
                  <a:pt x="405" y="79"/>
                </a:cubicBezTo>
                <a:cubicBezTo>
                  <a:pt x="415" y="79"/>
                  <a:pt x="422" y="81"/>
                  <a:pt x="427" y="83"/>
                </a:cubicBezTo>
                <a:cubicBezTo>
                  <a:pt x="433" y="85"/>
                  <a:pt x="436" y="89"/>
                  <a:pt x="435" y="95"/>
                </a:cubicBezTo>
                <a:moveTo>
                  <a:pt x="450" y="71"/>
                </a:moveTo>
                <a:cubicBezTo>
                  <a:pt x="439" y="66"/>
                  <a:pt x="426" y="65"/>
                  <a:pt x="408" y="65"/>
                </a:cubicBezTo>
                <a:cubicBezTo>
                  <a:pt x="404" y="65"/>
                  <a:pt x="404" y="65"/>
                  <a:pt x="404" y="65"/>
                </a:cubicBezTo>
                <a:cubicBezTo>
                  <a:pt x="386" y="65"/>
                  <a:pt x="373" y="66"/>
                  <a:pt x="361" y="71"/>
                </a:cubicBezTo>
                <a:cubicBezTo>
                  <a:pt x="348" y="77"/>
                  <a:pt x="342" y="86"/>
                  <a:pt x="341" y="97"/>
                </a:cubicBezTo>
                <a:cubicBezTo>
                  <a:pt x="339" y="125"/>
                  <a:pt x="339" y="125"/>
                  <a:pt x="339" y="125"/>
                </a:cubicBezTo>
                <a:cubicBezTo>
                  <a:pt x="338" y="136"/>
                  <a:pt x="342" y="145"/>
                  <a:pt x="354" y="151"/>
                </a:cubicBezTo>
                <a:cubicBezTo>
                  <a:pt x="365" y="156"/>
                  <a:pt x="378" y="157"/>
                  <a:pt x="396" y="157"/>
                </a:cubicBezTo>
                <a:cubicBezTo>
                  <a:pt x="400" y="157"/>
                  <a:pt x="400" y="157"/>
                  <a:pt x="400" y="157"/>
                </a:cubicBezTo>
                <a:cubicBezTo>
                  <a:pt x="418" y="157"/>
                  <a:pt x="432" y="156"/>
                  <a:pt x="443" y="151"/>
                </a:cubicBezTo>
                <a:cubicBezTo>
                  <a:pt x="457" y="145"/>
                  <a:pt x="462" y="136"/>
                  <a:pt x="463" y="125"/>
                </a:cubicBezTo>
                <a:cubicBezTo>
                  <a:pt x="465" y="97"/>
                  <a:pt x="465" y="97"/>
                  <a:pt x="465" y="97"/>
                </a:cubicBezTo>
                <a:cubicBezTo>
                  <a:pt x="466" y="86"/>
                  <a:pt x="463" y="77"/>
                  <a:pt x="450" y="71"/>
                </a:cubicBezTo>
                <a:moveTo>
                  <a:pt x="556" y="39"/>
                </a:moveTo>
                <a:cubicBezTo>
                  <a:pt x="536" y="39"/>
                  <a:pt x="522" y="40"/>
                  <a:pt x="509" y="45"/>
                </a:cubicBezTo>
                <a:cubicBezTo>
                  <a:pt x="496" y="50"/>
                  <a:pt x="491" y="60"/>
                  <a:pt x="490" y="70"/>
                </a:cubicBezTo>
                <a:cubicBezTo>
                  <a:pt x="482" y="156"/>
                  <a:pt x="482" y="156"/>
                  <a:pt x="482" y="156"/>
                </a:cubicBezTo>
                <a:cubicBezTo>
                  <a:pt x="512" y="156"/>
                  <a:pt x="512" y="156"/>
                  <a:pt x="512" y="156"/>
                </a:cubicBezTo>
                <a:cubicBezTo>
                  <a:pt x="520" y="69"/>
                  <a:pt x="520" y="69"/>
                  <a:pt x="520" y="69"/>
                </a:cubicBezTo>
                <a:cubicBezTo>
                  <a:pt x="520" y="63"/>
                  <a:pt x="524" y="59"/>
                  <a:pt x="530" y="56"/>
                </a:cubicBezTo>
                <a:cubicBezTo>
                  <a:pt x="536" y="54"/>
                  <a:pt x="545" y="53"/>
                  <a:pt x="557" y="53"/>
                </a:cubicBezTo>
                <a:cubicBezTo>
                  <a:pt x="563" y="53"/>
                  <a:pt x="563" y="53"/>
                  <a:pt x="563" y="53"/>
                </a:cubicBezTo>
                <a:cubicBezTo>
                  <a:pt x="569" y="50"/>
                  <a:pt x="571" y="44"/>
                  <a:pt x="571" y="39"/>
                </a:cubicBezTo>
                <a:cubicBezTo>
                  <a:pt x="556" y="39"/>
                  <a:pt x="556" y="39"/>
                  <a:pt x="556" y="39"/>
                </a:cubicBezTo>
                <a:close/>
                <a:moveTo>
                  <a:pt x="281" y="91"/>
                </a:moveTo>
                <a:cubicBezTo>
                  <a:pt x="287" y="93"/>
                  <a:pt x="289" y="97"/>
                  <a:pt x="289" y="103"/>
                </a:cubicBezTo>
                <a:cubicBezTo>
                  <a:pt x="285" y="156"/>
                  <a:pt x="285" y="156"/>
                  <a:pt x="285" y="156"/>
                </a:cubicBezTo>
                <a:cubicBezTo>
                  <a:pt x="315" y="156"/>
                  <a:pt x="315" y="156"/>
                  <a:pt x="315" y="156"/>
                </a:cubicBezTo>
                <a:cubicBezTo>
                  <a:pt x="319" y="105"/>
                  <a:pt x="319" y="105"/>
                  <a:pt x="319" y="105"/>
                </a:cubicBezTo>
                <a:cubicBezTo>
                  <a:pt x="320" y="94"/>
                  <a:pt x="316" y="85"/>
                  <a:pt x="304" y="79"/>
                </a:cubicBezTo>
                <a:cubicBezTo>
                  <a:pt x="293" y="74"/>
                  <a:pt x="280" y="73"/>
                  <a:pt x="261" y="73"/>
                </a:cubicBezTo>
                <a:cubicBezTo>
                  <a:pt x="258" y="73"/>
                  <a:pt x="258" y="73"/>
                  <a:pt x="258" y="73"/>
                </a:cubicBezTo>
                <a:cubicBezTo>
                  <a:pt x="240" y="73"/>
                  <a:pt x="226" y="74"/>
                  <a:pt x="215" y="79"/>
                </a:cubicBezTo>
                <a:cubicBezTo>
                  <a:pt x="201" y="85"/>
                  <a:pt x="196" y="94"/>
                  <a:pt x="195" y="105"/>
                </a:cubicBezTo>
                <a:cubicBezTo>
                  <a:pt x="191" y="156"/>
                  <a:pt x="191" y="156"/>
                  <a:pt x="191" y="156"/>
                </a:cubicBezTo>
                <a:cubicBezTo>
                  <a:pt x="221" y="156"/>
                  <a:pt x="221" y="156"/>
                  <a:pt x="221" y="156"/>
                </a:cubicBezTo>
                <a:cubicBezTo>
                  <a:pt x="225" y="103"/>
                  <a:pt x="225" y="103"/>
                  <a:pt x="225" y="103"/>
                </a:cubicBezTo>
                <a:cubicBezTo>
                  <a:pt x="226" y="97"/>
                  <a:pt x="229" y="93"/>
                  <a:pt x="235" y="91"/>
                </a:cubicBezTo>
                <a:cubicBezTo>
                  <a:pt x="241" y="89"/>
                  <a:pt x="249" y="87"/>
                  <a:pt x="258" y="87"/>
                </a:cubicBezTo>
                <a:cubicBezTo>
                  <a:pt x="268" y="87"/>
                  <a:pt x="276" y="89"/>
                  <a:pt x="281" y="91"/>
                </a:cubicBezTo>
              </a:path>
            </a:pathLst>
          </a:custGeom>
          <a:solidFill>
            <a:srgbClr val="00000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27" name="Google Shape;27;p7"/>
          <p:cNvSpPr txBox="1">
            <a:spLocks noGrp="1"/>
          </p:cNvSpPr>
          <p:nvPr>
            <p:ph type="ctrTitle"/>
          </p:nvPr>
        </p:nvSpPr>
        <p:spPr>
          <a:xfrm>
            <a:off x="5423318" y="2311297"/>
            <a:ext cx="3507037" cy="243896"/>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600"/>
              <a:buFont typeface="Arial"/>
              <a:buNone/>
              <a:defRPr sz="16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7"/>
          <p:cNvSpPr txBox="1">
            <a:spLocks noGrp="1"/>
          </p:cNvSpPr>
          <p:nvPr>
            <p:ph type="subTitle" idx="1"/>
          </p:nvPr>
        </p:nvSpPr>
        <p:spPr>
          <a:xfrm>
            <a:off x="1445535" y="3487029"/>
            <a:ext cx="3006207" cy="77559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2800"/>
              <a:buNone/>
              <a:defRPr sz="2800" cap="none">
                <a:solidFill>
                  <a:schemeClr val="accent1"/>
                </a:solidFill>
              </a:defRPr>
            </a:lvl1pPr>
            <a:lvl2pPr lvl="1" algn="ctr">
              <a:lnSpc>
                <a:spcPct val="100000"/>
              </a:lnSpc>
              <a:spcBef>
                <a:spcPts val="0"/>
              </a:spcBef>
              <a:spcAft>
                <a:spcPts val="0"/>
              </a:spcAft>
              <a:buSzPts val="1280"/>
              <a:buFont typeface="Arial"/>
              <a:buNone/>
              <a:defRPr>
                <a:solidFill>
                  <a:srgbClr val="888888"/>
                </a:solidFill>
              </a:defRPr>
            </a:lvl2pPr>
            <a:lvl3pPr lvl="2" algn="ctr">
              <a:lnSpc>
                <a:spcPct val="100000"/>
              </a:lnSpc>
              <a:spcBef>
                <a:spcPts val="300"/>
              </a:spcBef>
              <a:spcAft>
                <a:spcPts val="0"/>
              </a:spcAft>
              <a:buSzPts val="1600"/>
              <a:buNone/>
              <a:defRPr>
                <a:solidFill>
                  <a:srgbClr val="888888"/>
                </a:solidFill>
              </a:defRPr>
            </a:lvl3pPr>
            <a:lvl4pPr lvl="3" algn="ctr">
              <a:lnSpc>
                <a:spcPct val="100000"/>
              </a:lnSpc>
              <a:spcBef>
                <a:spcPts val="300"/>
              </a:spcBef>
              <a:spcAft>
                <a:spcPts val="0"/>
              </a:spcAft>
              <a:buSzPts val="1600"/>
              <a:buNone/>
              <a:defRPr>
                <a:solidFill>
                  <a:srgbClr val="888888"/>
                </a:solidFill>
              </a:defRPr>
            </a:lvl4pPr>
            <a:lvl5pPr lvl="4" algn="ctr">
              <a:lnSpc>
                <a:spcPct val="100000"/>
              </a:lnSpc>
              <a:spcBef>
                <a:spcPts val="0"/>
              </a:spcBef>
              <a:spcAft>
                <a:spcPts val="0"/>
              </a:spcAft>
              <a:buSzPts val="16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
        <p:nvSpPr>
          <p:cNvPr id="29" name="Google Shape;29;p7"/>
          <p:cNvSpPr txBox="1">
            <a:spLocks noGrp="1"/>
          </p:cNvSpPr>
          <p:nvPr>
            <p:ph type="body" idx="3"/>
          </p:nvPr>
        </p:nvSpPr>
        <p:spPr>
          <a:xfrm>
            <a:off x="2057922" y="4257675"/>
            <a:ext cx="2393820" cy="742950"/>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0"/>
              </a:spcBef>
              <a:spcAft>
                <a:spcPts val="0"/>
              </a:spcAft>
              <a:buSzPts val="1800"/>
              <a:buNone/>
              <a:defRPr sz="1800" b="0" cap="none">
                <a:solidFill>
                  <a:srgbClr val="FFFFFF"/>
                </a:solidFill>
              </a:defRPr>
            </a:lvl1pPr>
            <a:lvl2pPr marL="914400" lvl="1" indent="-320040" algn="just">
              <a:lnSpc>
                <a:spcPct val="100000"/>
              </a:lnSpc>
              <a:spcBef>
                <a:spcPts val="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0" name="Google Shape;30;p7"/>
          <p:cNvSpPr txBox="1">
            <a:spLocks noGrp="1"/>
          </p:cNvSpPr>
          <p:nvPr>
            <p:ph type="body" idx="4"/>
          </p:nvPr>
        </p:nvSpPr>
        <p:spPr>
          <a:xfrm>
            <a:off x="533400" y="5708499"/>
            <a:ext cx="1462483" cy="152551"/>
          </a:xfrm>
          <a:prstGeom prst="rect">
            <a:avLst/>
          </a:prstGeom>
          <a:noFill/>
          <a:ln>
            <a:noFill/>
          </a:ln>
        </p:spPr>
        <p:txBody>
          <a:bodyPr spcFirstLastPara="1" wrap="square" lIns="0" tIns="0" rIns="0" bIns="0" anchor="b" anchorCtr="0">
            <a:noAutofit/>
          </a:bodyPr>
          <a:lstStyle>
            <a:lvl1pPr marL="457200" lvl="0" indent="-228600" algn="r">
              <a:lnSpc>
                <a:spcPct val="100000"/>
              </a:lnSpc>
              <a:spcBef>
                <a:spcPts val="0"/>
              </a:spcBef>
              <a:spcAft>
                <a:spcPts val="0"/>
              </a:spcAft>
              <a:buSzPts val="800"/>
              <a:buNone/>
              <a:defRPr sz="800"/>
            </a:lvl1pPr>
            <a:lvl2pPr marL="914400" lvl="1" indent="-320040" algn="just">
              <a:lnSpc>
                <a:spcPct val="100000"/>
              </a:lnSpc>
              <a:spcBef>
                <a:spcPts val="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1" name="Google Shape;31;p7"/>
          <p:cNvSpPr txBox="1">
            <a:spLocks noGrp="1"/>
          </p:cNvSpPr>
          <p:nvPr>
            <p:ph type="body" idx="5"/>
          </p:nvPr>
        </p:nvSpPr>
        <p:spPr>
          <a:xfrm>
            <a:off x="2369366" y="5708499"/>
            <a:ext cx="1612083" cy="152551"/>
          </a:xfrm>
          <a:prstGeom prst="rect">
            <a:avLst/>
          </a:prstGeom>
          <a:noFill/>
          <a:ln>
            <a:noFill/>
          </a:ln>
        </p:spPr>
        <p:txBody>
          <a:bodyPr spcFirstLastPara="1" wrap="square" lIns="0" tIns="0" rIns="0" bIns="0" anchor="b" anchorCtr="0">
            <a:noAutofit/>
          </a:bodyPr>
          <a:lstStyle>
            <a:lvl1pPr marL="457200" lvl="0" indent="-228600" algn="l">
              <a:lnSpc>
                <a:spcPct val="100000"/>
              </a:lnSpc>
              <a:spcBef>
                <a:spcPts val="0"/>
              </a:spcBef>
              <a:spcAft>
                <a:spcPts val="0"/>
              </a:spcAft>
              <a:buSzPts val="800"/>
              <a:buNone/>
              <a:defRPr sz="800"/>
            </a:lvl1pPr>
            <a:lvl2pPr marL="914400" lvl="1" indent="-320040" algn="just">
              <a:lnSpc>
                <a:spcPct val="100000"/>
              </a:lnSpc>
              <a:spcBef>
                <a:spcPts val="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2" name="Google Shape;32;p7"/>
          <p:cNvSpPr txBox="1">
            <a:spLocks noGrp="1"/>
          </p:cNvSpPr>
          <p:nvPr>
            <p:ph type="body" idx="6"/>
          </p:nvPr>
        </p:nvSpPr>
        <p:spPr>
          <a:xfrm>
            <a:off x="533400" y="5878142"/>
            <a:ext cx="1462483" cy="349250"/>
          </a:xfrm>
          <a:prstGeom prst="rect">
            <a:avLst/>
          </a:prstGeom>
          <a:noFill/>
          <a:ln>
            <a:noFill/>
          </a:ln>
        </p:spPr>
        <p:txBody>
          <a:bodyPr spcFirstLastPara="1" wrap="square" lIns="0" tIns="0" rIns="0" bIns="0" anchor="t" anchorCtr="0">
            <a:noAutofit/>
          </a:bodyPr>
          <a:lstStyle>
            <a:lvl1pPr marL="457200" lvl="0" indent="-228600" algn="r">
              <a:lnSpc>
                <a:spcPct val="100000"/>
              </a:lnSpc>
              <a:spcBef>
                <a:spcPts val="0"/>
              </a:spcBef>
              <a:spcAft>
                <a:spcPts val="0"/>
              </a:spcAft>
              <a:buSzPts val="800"/>
              <a:buNone/>
              <a:defRPr sz="800" b="0"/>
            </a:lvl1pPr>
            <a:lvl2pPr marL="914400" lvl="1" indent="-320040" algn="just">
              <a:lnSpc>
                <a:spcPct val="100000"/>
              </a:lnSpc>
              <a:spcBef>
                <a:spcPts val="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3" name="Google Shape;33;p7"/>
          <p:cNvSpPr txBox="1">
            <a:spLocks noGrp="1"/>
          </p:cNvSpPr>
          <p:nvPr>
            <p:ph type="body" idx="7"/>
          </p:nvPr>
        </p:nvSpPr>
        <p:spPr>
          <a:xfrm>
            <a:off x="2369366" y="5878142"/>
            <a:ext cx="1612083" cy="34925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800"/>
              <a:buNone/>
              <a:defRPr sz="800" b="0"/>
            </a:lvl1pPr>
            <a:lvl2pPr marL="914400" lvl="1" indent="-320040" algn="just">
              <a:lnSpc>
                <a:spcPct val="100000"/>
              </a:lnSpc>
              <a:spcBef>
                <a:spcPts val="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4" name="Google Shape;34;p7"/>
          <p:cNvSpPr txBox="1">
            <a:spLocks noGrp="1"/>
          </p:cNvSpPr>
          <p:nvPr>
            <p:ph type="body" idx="8"/>
          </p:nvPr>
        </p:nvSpPr>
        <p:spPr>
          <a:xfrm>
            <a:off x="5423318" y="2555193"/>
            <a:ext cx="3507037" cy="1506537"/>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SzPts val="1600"/>
              <a:buNone/>
              <a:defRPr b="0" cap="none"/>
            </a:lvl1pPr>
            <a:lvl2pPr marL="914400" lvl="1" indent="-320040" algn="just">
              <a:lnSpc>
                <a:spcPct val="100000"/>
              </a:lnSpc>
              <a:spcBef>
                <a:spcPts val="30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de Fi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a:spLocks noChangeArrowheads="1"/>
          </p:cNvSpPr>
          <p:nvPr userDrawn="1"/>
        </p:nvSpPr>
        <p:spPr bwMode="auto">
          <a:xfrm>
            <a:off x="0" y="0"/>
            <a:ext cx="9140782" cy="6858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8" name="Freeform 70"/>
          <p:cNvSpPr>
            <a:spLocks/>
          </p:cNvSpPr>
          <p:nvPr userDrawn="1"/>
        </p:nvSpPr>
        <p:spPr bwMode="auto">
          <a:xfrm flipH="1" flipV="1">
            <a:off x="5575531" y="4227267"/>
            <a:ext cx="752357" cy="754115"/>
          </a:xfrm>
          <a:custGeom>
            <a:avLst/>
            <a:gdLst/>
            <a:ahLst/>
            <a:cxnLst>
              <a:cxn ang="0">
                <a:pos x="428" y="0"/>
              </a:cxn>
              <a:cxn ang="0">
                <a:pos x="0" y="0"/>
              </a:cxn>
              <a:cxn ang="0">
                <a:pos x="0" y="429"/>
              </a:cxn>
              <a:cxn ang="0">
                <a:pos x="65" y="363"/>
              </a:cxn>
              <a:cxn ang="0">
                <a:pos x="65" y="66"/>
              </a:cxn>
              <a:cxn ang="0">
                <a:pos x="363" y="66"/>
              </a:cxn>
              <a:cxn ang="0">
                <a:pos x="428" y="0"/>
              </a:cxn>
            </a:cxnLst>
            <a:rect l="0" t="0" r="r" b="b"/>
            <a:pathLst>
              <a:path w="428" h="429">
                <a:moveTo>
                  <a:pt x="428" y="0"/>
                </a:moveTo>
                <a:lnTo>
                  <a:pt x="0" y="0"/>
                </a:lnTo>
                <a:lnTo>
                  <a:pt x="0" y="429"/>
                </a:lnTo>
                <a:lnTo>
                  <a:pt x="65" y="363"/>
                </a:lnTo>
                <a:lnTo>
                  <a:pt x="65" y="66"/>
                </a:lnTo>
                <a:lnTo>
                  <a:pt x="363" y="66"/>
                </a:lnTo>
                <a:lnTo>
                  <a:pt x="42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9" name="Freeform 55"/>
          <p:cNvSpPr>
            <a:spLocks noEditPoints="1"/>
          </p:cNvSpPr>
          <p:nvPr userDrawn="1"/>
        </p:nvSpPr>
        <p:spPr bwMode="auto">
          <a:xfrm>
            <a:off x="7343281" y="5754131"/>
            <a:ext cx="1379498" cy="405425"/>
          </a:xfrm>
          <a:custGeom>
            <a:avLst/>
            <a:gdLst/>
            <a:ahLst/>
            <a:cxnLst>
              <a:cxn ang="0">
                <a:pos x="770" y="210"/>
              </a:cxn>
              <a:cxn ang="0">
                <a:pos x="752" y="213"/>
              </a:cxn>
              <a:cxn ang="0">
                <a:pos x="785" y="230"/>
              </a:cxn>
              <a:cxn ang="0">
                <a:pos x="692" y="210"/>
              </a:cxn>
              <a:cxn ang="0">
                <a:pos x="685" y="210"/>
              </a:cxn>
              <a:cxn ang="0">
                <a:pos x="665" y="230"/>
              </a:cxn>
              <a:cxn ang="0">
                <a:pos x="616" y="194"/>
              </a:cxn>
              <a:cxn ang="0">
                <a:pos x="655" y="194"/>
              </a:cxn>
              <a:cxn ang="0">
                <a:pos x="591" y="202"/>
              </a:cxn>
              <a:cxn ang="0">
                <a:pos x="586" y="213"/>
              </a:cxn>
              <a:cxn ang="0">
                <a:pos x="603" y="218"/>
              </a:cxn>
              <a:cxn ang="0">
                <a:pos x="549" y="207"/>
              </a:cxn>
              <a:cxn ang="0">
                <a:pos x="549" y="189"/>
              </a:cxn>
              <a:cxn ang="0">
                <a:pos x="533" y="224"/>
              </a:cxn>
              <a:cxn ang="0">
                <a:pos x="511" y="230"/>
              </a:cxn>
              <a:cxn ang="0">
                <a:pos x="477" y="190"/>
              </a:cxn>
              <a:cxn ang="0">
                <a:pos x="477" y="226"/>
              </a:cxn>
              <a:cxn ang="0">
                <a:pos x="436" y="194"/>
              </a:cxn>
              <a:cxn ang="0">
                <a:pos x="414" y="230"/>
              </a:cxn>
              <a:cxn ang="0">
                <a:pos x="458" y="230"/>
              </a:cxn>
              <a:cxn ang="0">
                <a:pos x="376" y="223"/>
              </a:cxn>
              <a:cxn ang="0">
                <a:pos x="349" y="230"/>
              </a:cxn>
              <a:cxn ang="0">
                <a:pos x="365" y="211"/>
              </a:cxn>
              <a:cxn ang="0">
                <a:pos x="394" y="195"/>
              </a:cxn>
              <a:cxn ang="0">
                <a:pos x="391" y="190"/>
              </a:cxn>
              <a:cxn ang="0">
                <a:pos x="328" y="201"/>
              </a:cxn>
              <a:cxn ang="0">
                <a:pos x="331" y="193"/>
              </a:cxn>
              <a:cxn ang="0">
                <a:pos x="309" y="213"/>
              </a:cxn>
              <a:cxn ang="0">
                <a:pos x="333" y="219"/>
              </a:cxn>
              <a:cxn ang="0">
                <a:pos x="266" y="193"/>
              </a:cxn>
              <a:cxn ang="0">
                <a:pos x="266" y="231"/>
              </a:cxn>
              <a:cxn ang="0">
                <a:pos x="224" y="223"/>
              </a:cxn>
              <a:cxn ang="0">
                <a:pos x="191" y="230"/>
              </a:cxn>
              <a:cxn ang="0">
                <a:pos x="206" y="210"/>
              </a:cxn>
              <a:cxn ang="0">
                <a:pos x="224" y="207"/>
              </a:cxn>
              <a:cxn ang="0">
                <a:pos x="39" y="139"/>
              </a:cxn>
              <a:cxn ang="0">
                <a:pos x="84" y="143"/>
              </a:cxn>
              <a:cxn ang="0">
                <a:pos x="56" y="53"/>
              </a:cxn>
              <a:cxn ang="0">
                <a:pos x="1" y="125"/>
              </a:cxn>
              <a:cxn ang="0">
                <a:pos x="116" y="125"/>
              </a:cxn>
              <a:cxn ang="0">
                <a:pos x="186" y="18"/>
              </a:cxn>
              <a:cxn ang="0">
                <a:pos x="168" y="7"/>
              </a:cxn>
              <a:cxn ang="0">
                <a:pos x="127" y="79"/>
              </a:cxn>
              <a:cxn ang="0">
                <a:pos x="465" y="49"/>
              </a:cxn>
              <a:cxn ang="0">
                <a:pos x="423" y="139"/>
              </a:cxn>
              <a:cxn ang="0">
                <a:pos x="382" y="83"/>
              </a:cxn>
              <a:cxn ang="0">
                <a:pos x="408" y="65"/>
              </a:cxn>
              <a:cxn ang="0">
                <a:pos x="354" y="151"/>
              </a:cxn>
              <a:cxn ang="0">
                <a:pos x="465" y="97"/>
              </a:cxn>
              <a:cxn ang="0">
                <a:pos x="482" y="156"/>
              </a:cxn>
              <a:cxn ang="0">
                <a:pos x="563" y="53"/>
              </a:cxn>
              <a:cxn ang="0">
                <a:pos x="285" y="156"/>
              </a:cxn>
              <a:cxn ang="0">
                <a:pos x="258" y="73"/>
              </a:cxn>
              <a:cxn ang="0">
                <a:pos x="225" y="103"/>
              </a:cxn>
            </a:cxnLst>
            <a:rect l="0" t="0" r="r" b="b"/>
            <a:pathLst>
              <a:path w="785" h="231">
                <a:moveTo>
                  <a:pt x="779" y="190"/>
                </a:moveTo>
                <a:cubicBezTo>
                  <a:pt x="779" y="207"/>
                  <a:pt x="779" y="207"/>
                  <a:pt x="779" y="207"/>
                </a:cubicBezTo>
                <a:cubicBezTo>
                  <a:pt x="779" y="213"/>
                  <a:pt x="779" y="218"/>
                  <a:pt x="779" y="223"/>
                </a:cubicBezTo>
                <a:cubicBezTo>
                  <a:pt x="779" y="223"/>
                  <a:pt x="779" y="223"/>
                  <a:pt x="779" y="223"/>
                </a:cubicBezTo>
                <a:cubicBezTo>
                  <a:pt x="777" y="219"/>
                  <a:pt x="774" y="215"/>
                  <a:pt x="770" y="210"/>
                </a:cubicBezTo>
                <a:cubicBezTo>
                  <a:pt x="753" y="190"/>
                  <a:pt x="753" y="190"/>
                  <a:pt x="753" y="190"/>
                </a:cubicBezTo>
                <a:cubicBezTo>
                  <a:pt x="746" y="190"/>
                  <a:pt x="746" y="190"/>
                  <a:pt x="746" y="190"/>
                </a:cubicBezTo>
                <a:cubicBezTo>
                  <a:pt x="746" y="230"/>
                  <a:pt x="746" y="230"/>
                  <a:pt x="746" y="230"/>
                </a:cubicBezTo>
                <a:cubicBezTo>
                  <a:pt x="752" y="230"/>
                  <a:pt x="752" y="230"/>
                  <a:pt x="752" y="230"/>
                </a:cubicBezTo>
                <a:cubicBezTo>
                  <a:pt x="752" y="213"/>
                  <a:pt x="752" y="213"/>
                  <a:pt x="752" y="213"/>
                </a:cubicBezTo>
                <a:cubicBezTo>
                  <a:pt x="752" y="206"/>
                  <a:pt x="752" y="201"/>
                  <a:pt x="752" y="196"/>
                </a:cubicBezTo>
                <a:cubicBezTo>
                  <a:pt x="752" y="196"/>
                  <a:pt x="752" y="196"/>
                  <a:pt x="752" y="196"/>
                </a:cubicBezTo>
                <a:cubicBezTo>
                  <a:pt x="754" y="201"/>
                  <a:pt x="758" y="205"/>
                  <a:pt x="761" y="210"/>
                </a:cubicBezTo>
                <a:cubicBezTo>
                  <a:pt x="778" y="230"/>
                  <a:pt x="778" y="230"/>
                  <a:pt x="778" y="230"/>
                </a:cubicBezTo>
                <a:cubicBezTo>
                  <a:pt x="785" y="230"/>
                  <a:pt x="785" y="230"/>
                  <a:pt x="785" y="230"/>
                </a:cubicBezTo>
                <a:cubicBezTo>
                  <a:pt x="785" y="190"/>
                  <a:pt x="785" y="190"/>
                  <a:pt x="785" y="190"/>
                </a:cubicBezTo>
                <a:lnTo>
                  <a:pt x="779" y="190"/>
                </a:lnTo>
                <a:close/>
                <a:moveTo>
                  <a:pt x="708" y="227"/>
                </a:moveTo>
                <a:cubicBezTo>
                  <a:pt x="708" y="227"/>
                  <a:pt x="708" y="227"/>
                  <a:pt x="708" y="227"/>
                </a:cubicBezTo>
                <a:cubicBezTo>
                  <a:pt x="698" y="227"/>
                  <a:pt x="692" y="219"/>
                  <a:pt x="692" y="210"/>
                </a:cubicBezTo>
                <a:cubicBezTo>
                  <a:pt x="692" y="201"/>
                  <a:pt x="697" y="193"/>
                  <a:pt x="709" y="193"/>
                </a:cubicBezTo>
                <a:cubicBezTo>
                  <a:pt x="720" y="193"/>
                  <a:pt x="725" y="202"/>
                  <a:pt x="725" y="210"/>
                </a:cubicBezTo>
                <a:cubicBezTo>
                  <a:pt x="725" y="219"/>
                  <a:pt x="719" y="227"/>
                  <a:pt x="708" y="227"/>
                </a:cubicBezTo>
                <a:moveTo>
                  <a:pt x="709" y="189"/>
                </a:moveTo>
                <a:cubicBezTo>
                  <a:pt x="695" y="189"/>
                  <a:pt x="685" y="197"/>
                  <a:pt x="685" y="210"/>
                </a:cubicBezTo>
                <a:cubicBezTo>
                  <a:pt x="685" y="223"/>
                  <a:pt x="694" y="231"/>
                  <a:pt x="708" y="231"/>
                </a:cubicBezTo>
                <a:cubicBezTo>
                  <a:pt x="708" y="231"/>
                  <a:pt x="708" y="231"/>
                  <a:pt x="708" y="231"/>
                </a:cubicBezTo>
                <a:cubicBezTo>
                  <a:pt x="722" y="231"/>
                  <a:pt x="733" y="223"/>
                  <a:pt x="733" y="210"/>
                </a:cubicBezTo>
                <a:cubicBezTo>
                  <a:pt x="733" y="197"/>
                  <a:pt x="723" y="189"/>
                  <a:pt x="709" y="189"/>
                </a:cubicBezTo>
                <a:moveTo>
                  <a:pt x="665" y="230"/>
                </a:moveTo>
                <a:cubicBezTo>
                  <a:pt x="671" y="230"/>
                  <a:pt x="671" y="230"/>
                  <a:pt x="671" y="230"/>
                </a:cubicBezTo>
                <a:cubicBezTo>
                  <a:pt x="671" y="190"/>
                  <a:pt x="671" y="190"/>
                  <a:pt x="671" y="190"/>
                </a:cubicBezTo>
                <a:cubicBezTo>
                  <a:pt x="665" y="190"/>
                  <a:pt x="665" y="190"/>
                  <a:pt x="665" y="190"/>
                </a:cubicBezTo>
                <a:lnTo>
                  <a:pt x="665" y="230"/>
                </a:lnTo>
                <a:close/>
                <a:moveTo>
                  <a:pt x="616" y="194"/>
                </a:moveTo>
                <a:cubicBezTo>
                  <a:pt x="632" y="194"/>
                  <a:pt x="632" y="194"/>
                  <a:pt x="632" y="194"/>
                </a:cubicBezTo>
                <a:cubicBezTo>
                  <a:pt x="632" y="230"/>
                  <a:pt x="632" y="230"/>
                  <a:pt x="632" y="230"/>
                </a:cubicBezTo>
                <a:cubicBezTo>
                  <a:pt x="639" y="230"/>
                  <a:pt x="639" y="230"/>
                  <a:pt x="639" y="230"/>
                </a:cubicBezTo>
                <a:cubicBezTo>
                  <a:pt x="639" y="194"/>
                  <a:pt x="639" y="194"/>
                  <a:pt x="639" y="194"/>
                </a:cubicBezTo>
                <a:cubicBezTo>
                  <a:pt x="655" y="194"/>
                  <a:pt x="655" y="194"/>
                  <a:pt x="655" y="194"/>
                </a:cubicBezTo>
                <a:cubicBezTo>
                  <a:pt x="655" y="190"/>
                  <a:pt x="655" y="190"/>
                  <a:pt x="655" y="190"/>
                </a:cubicBezTo>
                <a:cubicBezTo>
                  <a:pt x="616" y="190"/>
                  <a:pt x="616" y="190"/>
                  <a:pt x="616" y="190"/>
                </a:cubicBezTo>
                <a:lnTo>
                  <a:pt x="616" y="194"/>
                </a:lnTo>
                <a:close/>
                <a:moveTo>
                  <a:pt x="586" y="213"/>
                </a:moveTo>
                <a:cubicBezTo>
                  <a:pt x="591" y="202"/>
                  <a:pt x="591" y="202"/>
                  <a:pt x="591" y="202"/>
                </a:cubicBezTo>
                <a:cubicBezTo>
                  <a:pt x="592" y="199"/>
                  <a:pt x="593" y="197"/>
                  <a:pt x="593" y="194"/>
                </a:cubicBezTo>
                <a:cubicBezTo>
                  <a:pt x="594" y="194"/>
                  <a:pt x="594" y="194"/>
                  <a:pt x="594" y="194"/>
                </a:cubicBezTo>
                <a:cubicBezTo>
                  <a:pt x="595" y="197"/>
                  <a:pt x="595" y="199"/>
                  <a:pt x="596" y="202"/>
                </a:cubicBezTo>
                <a:cubicBezTo>
                  <a:pt x="602" y="213"/>
                  <a:pt x="602" y="213"/>
                  <a:pt x="602" y="213"/>
                </a:cubicBezTo>
                <a:lnTo>
                  <a:pt x="586" y="213"/>
                </a:lnTo>
                <a:close/>
                <a:moveTo>
                  <a:pt x="590" y="190"/>
                </a:moveTo>
                <a:cubicBezTo>
                  <a:pt x="572" y="230"/>
                  <a:pt x="572" y="230"/>
                  <a:pt x="572" y="230"/>
                </a:cubicBezTo>
                <a:cubicBezTo>
                  <a:pt x="579" y="230"/>
                  <a:pt x="579" y="230"/>
                  <a:pt x="579" y="230"/>
                </a:cubicBezTo>
                <a:cubicBezTo>
                  <a:pt x="584" y="218"/>
                  <a:pt x="584" y="218"/>
                  <a:pt x="584" y="218"/>
                </a:cubicBezTo>
                <a:cubicBezTo>
                  <a:pt x="603" y="218"/>
                  <a:pt x="603" y="218"/>
                  <a:pt x="603" y="218"/>
                </a:cubicBezTo>
                <a:cubicBezTo>
                  <a:pt x="609" y="230"/>
                  <a:pt x="609" y="230"/>
                  <a:pt x="609" y="230"/>
                </a:cubicBezTo>
                <a:cubicBezTo>
                  <a:pt x="616" y="230"/>
                  <a:pt x="616" y="230"/>
                  <a:pt x="616" y="230"/>
                </a:cubicBezTo>
                <a:cubicBezTo>
                  <a:pt x="598" y="190"/>
                  <a:pt x="598" y="190"/>
                  <a:pt x="598" y="190"/>
                </a:cubicBezTo>
                <a:lnTo>
                  <a:pt x="590" y="190"/>
                </a:lnTo>
                <a:close/>
                <a:moveTo>
                  <a:pt x="549" y="207"/>
                </a:moveTo>
                <a:cubicBezTo>
                  <a:pt x="542" y="205"/>
                  <a:pt x="539" y="203"/>
                  <a:pt x="539" y="199"/>
                </a:cubicBezTo>
                <a:cubicBezTo>
                  <a:pt x="539" y="197"/>
                  <a:pt x="542" y="193"/>
                  <a:pt x="549" y="193"/>
                </a:cubicBezTo>
                <a:cubicBezTo>
                  <a:pt x="554" y="193"/>
                  <a:pt x="557" y="194"/>
                  <a:pt x="559" y="195"/>
                </a:cubicBezTo>
                <a:cubicBezTo>
                  <a:pt x="561" y="191"/>
                  <a:pt x="561" y="191"/>
                  <a:pt x="561" y="191"/>
                </a:cubicBezTo>
                <a:cubicBezTo>
                  <a:pt x="558" y="190"/>
                  <a:pt x="554" y="189"/>
                  <a:pt x="549" y="189"/>
                </a:cubicBezTo>
                <a:cubicBezTo>
                  <a:pt x="539" y="189"/>
                  <a:pt x="532" y="194"/>
                  <a:pt x="532" y="200"/>
                </a:cubicBezTo>
                <a:cubicBezTo>
                  <a:pt x="532" y="206"/>
                  <a:pt x="537" y="209"/>
                  <a:pt x="546" y="212"/>
                </a:cubicBezTo>
                <a:cubicBezTo>
                  <a:pt x="553" y="214"/>
                  <a:pt x="556" y="216"/>
                  <a:pt x="556" y="220"/>
                </a:cubicBezTo>
                <a:cubicBezTo>
                  <a:pt x="556" y="224"/>
                  <a:pt x="552" y="227"/>
                  <a:pt x="545" y="227"/>
                </a:cubicBezTo>
                <a:cubicBezTo>
                  <a:pt x="540" y="227"/>
                  <a:pt x="536" y="225"/>
                  <a:pt x="533" y="224"/>
                </a:cubicBezTo>
                <a:cubicBezTo>
                  <a:pt x="531" y="228"/>
                  <a:pt x="531" y="228"/>
                  <a:pt x="531" y="228"/>
                </a:cubicBezTo>
                <a:cubicBezTo>
                  <a:pt x="534" y="230"/>
                  <a:pt x="539" y="231"/>
                  <a:pt x="544" y="231"/>
                </a:cubicBezTo>
                <a:cubicBezTo>
                  <a:pt x="557" y="231"/>
                  <a:pt x="563" y="225"/>
                  <a:pt x="563" y="219"/>
                </a:cubicBezTo>
                <a:cubicBezTo>
                  <a:pt x="563" y="213"/>
                  <a:pt x="558" y="210"/>
                  <a:pt x="549" y="207"/>
                </a:cubicBezTo>
                <a:moveTo>
                  <a:pt x="511" y="230"/>
                </a:moveTo>
                <a:cubicBezTo>
                  <a:pt x="518" y="230"/>
                  <a:pt x="518" y="230"/>
                  <a:pt x="518" y="230"/>
                </a:cubicBezTo>
                <a:cubicBezTo>
                  <a:pt x="518" y="190"/>
                  <a:pt x="518" y="190"/>
                  <a:pt x="518" y="190"/>
                </a:cubicBezTo>
                <a:cubicBezTo>
                  <a:pt x="511" y="190"/>
                  <a:pt x="511" y="190"/>
                  <a:pt x="511" y="190"/>
                </a:cubicBezTo>
                <a:lnTo>
                  <a:pt x="511" y="230"/>
                </a:lnTo>
                <a:close/>
                <a:moveTo>
                  <a:pt x="477" y="190"/>
                </a:moveTo>
                <a:cubicBezTo>
                  <a:pt x="470" y="190"/>
                  <a:pt x="470" y="190"/>
                  <a:pt x="470" y="190"/>
                </a:cubicBezTo>
                <a:cubicBezTo>
                  <a:pt x="470" y="230"/>
                  <a:pt x="470" y="230"/>
                  <a:pt x="470" y="230"/>
                </a:cubicBezTo>
                <a:cubicBezTo>
                  <a:pt x="500" y="230"/>
                  <a:pt x="500" y="230"/>
                  <a:pt x="500" y="230"/>
                </a:cubicBezTo>
                <a:cubicBezTo>
                  <a:pt x="500" y="226"/>
                  <a:pt x="500" y="226"/>
                  <a:pt x="500" y="226"/>
                </a:cubicBezTo>
                <a:cubicBezTo>
                  <a:pt x="477" y="226"/>
                  <a:pt x="477" y="226"/>
                  <a:pt x="477" y="226"/>
                </a:cubicBezTo>
                <a:lnTo>
                  <a:pt x="477" y="190"/>
                </a:lnTo>
                <a:close/>
                <a:moveTo>
                  <a:pt x="428" y="213"/>
                </a:moveTo>
                <a:cubicBezTo>
                  <a:pt x="433" y="202"/>
                  <a:pt x="433" y="202"/>
                  <a:pt x="433" y="202"/>
                </a:cubicBezTo>
                <a:cubicBezTo>
                  <a:pt x="434" y="199"/>
                  <a:pt x="435" y="197"/>
                  <a:pt x="436" y="194"/>
                </a:cubicBezTo>
                <a:cubicBezTo>
                  <a:pt x="436" y="194"/>
                  <a:pt x="436" y="194"/>
                  <a:pt x="436" y="194"/>
                </a:cubicBezTo>
                <a:cubicBezTo>
                  <a:pt x="437" y="197"/>
                  <a:pt x="438" y="199"/>
                  <a:pt x="439" y="202"/>
                </a:cubicBezTo>
                <a:cubicBezTo>
                  <a:pt x="444" y="213"/>
                  <a:pt x="444" y="213"/>
                  <a:pt x="444" y="213"/>
                </a:cubicBezTo>
                <a:lnTo>
                  <a:pt x="428" y="213"/>
                </a:lnTo>
                <a:close/>
                <a:moveTo>
                  <a:pt x="432" y="190"/>
                </a:moveTo>
                <a:cubicBezTo>
                  <a:pt x="414" y="230"/>
                  <a:pt x="414" y="230"/>
                  <a:pt x="414" y="230"/>
                </a:cubicBezTo>
                <a:cubicBezTo>
                  <a:pt x="421" y="230"/>
                  <a:pt x="421" y="230"/>
                  <a:pt x="421" y="230"/>
                </a:cubicBezTo>
                <a:cubicBezTo>
                  <a:pt x="427" y="218"/>
                  <a:pt x="427" y="218"/>
                  <a:pt x="427" y="218"/>
                </a:cubicBezTo>
                <a:cubicBezTo>
                  <a:pt x="445" y="218"/>
                  <a:pt x="445" y="218"/>
                  <a:pt x="445" y="218"/>
                </a:cubicBezTo>
                <a:cubicBezTo>
                  <a:pt x="451" y="230"/>
                  <a:pt x="451" y="230"/>
                  <a:pt x="451" y="230"/>
                </a:cubicBezTo>
                <a:cubicBezTo>
                  <a:pt x="458" y="230"/>
                  <a:pt x="458" y="230"/>
                  <a:pt x="458" y="230"/>
                </a:cubicBezTo>
                <a:cubicBezTo>
                  <a:pt x="440" y="190"/>
                  <a:pt x="440" y="190"/>
                  <a:pt x="440" y="190"/>
                </a:cubicBezTo>
                <a:lnTo>
                  <a:pt x="432" y="190"/>
                </a:lnTo>
                <a:close/>
                <a:moveTo>
                  <a:pt x="391" y="190"/>
                </a:moveTo>
                <a:cubicBezTo>
                  <a:pt x="382" y="209"/>
                  <a:pt x="382" y="209"/>
                  <a:pt x="382" y="209"/>
                </a:cubicBezTo>
                <a:cubicBezTo>
                  <a:pt x="379" y="214"/>
                  <a:pt x="378" y="219"/>
                  <a:pt x="376" y="223"/>
                </a:cubicBezTo>
                <a:cubicBezTo>
                  <a:pt x="376" y="223"/>
                  <a:pt x="376" y="223"/>
                  <a:pt x="376" y="223"/>
                </a:cubicBezTo>
                <a:cubicBezTo>
                  <a:pt x="375" y="219"/>
                  <a:pt x="373" y="214"/>
                  <a:pt x="371" y="209"/>
                </a:cubicBezTo>
                <a:cubicBezTo>
                  <a:pt x="362" y="190"/>
                  <a:pt x="362" y="190"/>
                  <a:pt x="362" y="190"/>
                </a:cubicBezTo>
                <a:cubicBezTo>
                  <a:pt x="353" y="190"/>
                  <a:pt x="353" y="190"/>
                  <a:pt x="353" y="190"/>
                </a:cubicBezTo>
                <a:cubicBezTo>
                  <a:pt x="349" y="230"/>
                  <a:pt x="349" y="230"/>
                  <a:pt x="349" y="230"/>
                </a:cubicBezTo>
                <a:cubicBezTo>
                  <a:pt x="356" y="230"/>
                  <a:pt x="356" y="230"/>
                  <a:pt x="356" y="230"/>
                </a:cubicBezTo>
                <a:cubicBezTo>
                  <a:pt x="357" y="213"/>
                  <a:pt x="357" y="213"/>
                  <a:pt x="357" y="213"/>
                </a:cubicBezTo>
                <a:cubicBezTo>
                  <a:pt x="358" y="207"/>
                  <a:pt x="358" y="200"/>
                  <a:pt x="358" y="195"/>
                </a:cubicBezTo>
                <a:cubicBezTo>
                  <a:pt x="359" y="195"/>
                  <a:pt x="359" y="195"/>
                  <a:pt x="359" y="195"/>
                </a:cubicBezTo>
                <a:cubicBezTo>
                  <a:pt x="360" y="200"/>
                  <a:pt x="362" y="205"/>
                  <a:pt x="365" y="211"/>
                </a:cubicBezTo>
                <a:cubicBezTo>
                  <a:pt x="373" y="230"/>
                  <a:pt x="373" y="230"/>
                  <a:pt x="373" y="230"/>
                </a:cubicBezTo>
                <a:cubicBezTo>
                  <a:pt x="378" y="230"/>
                  <a:pt x="378" y="230"/>
                  <a:pt x="378" y="230"/>
                </a:cubicBezTo>
                <a:cubicBezTo>
                  <a:pt x="388" y="210"/>
                  <a:pt x="388" y="210"/>
                  <a:pt x="388" y="210"/>
                </a:cubicBezTo>
                <a:cubicBezTo>
                  <a:pt x="390" y="205"/>
                  <a:pt x="392" y="200"/>
                  <a:pt x="394" y="195"/>
                </a:cubicBezTo>
                <a:cubicBezTo>
                  <a:pt x="394" y="195"/>
                  <a:pt x="394" y="195"/>
                  <a:pt x="394" y="195"/>
                </a:cubicBezTo>
                <a:cubicBezTo>
                  <a:pt x="394" y="200"/>
                  <a:pt x="395" y="207"/>
                  <a:pt x="395" y="212"/>
                </a:cubicBezTo>
                <a:cubicBezTo>
                  <a:pt x="396" y="230"/>
                  <a:pt x="396" y="230"/>
                  <a:pt x="396" y="230"/>
                </a:cubicBezTo>
                <a:cubicBezTo>
                  <a:pt x="403" y="230"/>
                  <a:pt x="403" y="230"/>
                  <a:pt x="403" y="230"/>
                </a:cubicBezTo>
                <a:cubicBezTo>
                  <a:pt x="400" y="190"/>
                  <a:pt x="400" y="190"/>
                  <a:pt x="400" y="190"/>
                </a:cubicBezTo>
                <a:lnTo>
                  <a:pt x="391" y="190"/>
                </a:lnTo>
                <a:close/>
                <a:moveTo>
                  <a:pt x="316" y="209"/>
                </a:moveTo>
                <a:cubicBezTo>
                  <a:pt x="309" y="209"/>
                  <a:pt x="309" y="209"/>
                  <a:pt x="309" y="209"/>
                </a:cubicBezTo>
                <a:cubicBezTo>
                  <a:pt x="309" y="194"/>
                  <a:pt x="309" y="194"/>
                  <a:pt x="309" y="194"/>
                </a:cubicBezTo>
                <a:cubicBezTo>
                  <a:pt x="310" y="194"/>
                  <a:pt x="313" y="193"/>
                  <a:pt x="316" y="193"/>
                </a:cubicBezTo>
                <a:cubicBezTo>
                  <a:pt x="323" y="193"/>
                  <a:pt x="328" y="196"/>
                  <a:pt x="328" y="201"/>
                </a:cubicBezTo>
                <a:cubicBezTo>
                  <a:pt x="328" y="206"/>
                  <a:pt x="323" y="209"/>
                  <a:pt x="316" y="209"/>
                </a:cubicBezTo>
                <a:moveTo>
                  <a:pt x="325" y="211"/>
                </a:moveTo>
                <a:cubicBezTo>
                  <a:pt x="325" y="211"/>
                  <a:pt x="325" y="211"/>
                  <a:pt x="325" y="211"/>
                </a:cubicBezTo>
                <a:cubicBezTo>
                  <a:pt x="330" y="209"/>
                  <a:pt x="335" y="206"/>
                  <a:pt x="335" y="200"/>
                </a:cubicBezTo>
                <a:cubicBezTo>
                  <a:pt x="335" y="197"/>
                  <a:pt x="333" y="194"/>
                  <a:pt x="331" y="193"/>
                </a:cubicBezTo>
                <a:cubicBezTo>
                  <a:pt x="327" y="190"/>
                  <a:pt x="323" y="189"/>
                  <a:pt x="315" y="189"/>
                </a:cubicBezTo>
                <a:cubicBezTo>
                  <a:pt x="311" y="189"/>
                  <a:pt x="306" y="190"/>
                  <a:pt x="302" y="190"/>
                </a:cubicBezTo>
                <a:cubicBezTo>
                  <a:pt x="302" y="230"/>
                  <a:pt x="302" y="230"/>
                  <a:pt x="302" y="230"/>
                </a:cubicBezTo>
                <a:cubicBezTo>
                  <a:pt x="309" y="230"/>
                  <a:pt x="309" y="230"/>
                  <a:pt x="309" y="230"/>
                </a:cubicBezTo>
                <a:cubicBezTo>
                  <a:pt x="309" y="213"/>
                  <a:pt x="309" y="213"/>
                  <a:pt x="309" y="213"/>
                </a:cubicBezTo>
                <a:cubicBezTo>
                  <a:pt x="316" y="213"/>
                  <a:pt x="316" y="213"/>
                  <a:pt x="316" y="213"/>
                </a:cubicBezTo>
                <a:cubicBezTo>
                  <a:pt x="322" y="213"/>
                  <a:pt x="325" y="215"/>
                  <a:pt x="326" y="221"/>
                </a:cubicBezTo>
                <a:cubicBezTo>
                  <a:pt x="328" y="226"/>
                  <a:pt x="329" y="229"/>
                  <a:pt x="330" y="230"/>
                </a:cubicBezTo>
                <a:cubicBezTo>
                  <a:pt x="337" y="230"/>
                  <a:pt x="337" y="230"/>
                  <a:pt x="337" y="230"/>
                </a:cubicBezTo>
                <a:cubicBezTo>
                  <a:pt x="336" y="229"/>
                  <a:pt x="334" y="225"/>
                  <a:pt x="333" y="219"/>
                </a:cubicBezTo>
                <a:cubicBezTo>
                  <a:pt x="331" y="215"/>
                  <a:pt x="329" y="212"/>
                  <a:pt x="325" y="211"/>
                </a:cubicBezTo>
                <a:moveTo>
                  <a:pt x="266" y="227"/>
                </a:moveTo>
                <a:cubicBezTo>
                  <a:pt x="266" y="227"/>
                  <a:pt x="266" y="227"/>
                  <a:pt x="266" y="227"/>
                </a:cubicBezTo>
                <a:cubicBezTo>
                  <a:pt x="256" y="227"/>
                  <a:pt x="250" y="219"/>
                  <a:pt x="250" y="210"/>
                </a:cubicBezTo>
                <a:cubicBezTo>
                  <a:pt x="250" y="201"/>
                  <a:pt x="255" y="193"/>
                  <a:pt x="266" y="193"/>
                </a:cubicBezTo>
                <a:cubicBezTo>
                  <a:pt x="278" y="193"/>
                  <a:pt x="283" y="202"/>
                  <a:pt x="283" y="210"/>
                </a:cubicBezTo>
                <a:cubicBezTo>
                  <a:pt x="283" y="219"/>
                  <a:pt x="277" y="227"/>
                  <a:pt x="266" y="227"/>
                </a:cubicBezTo>
                <a:moveTo>
                  <a:pt x="267" y="189"/>
                </a:moveTo>
                <a:cubicBezTo>
                  <a:pt x="253" y="189"/>
                  <a:pt x="242" y="197"/>
                  <a:pt x="242" y="210"/>
                </a:cubicBezTo>
                <a:cubicBezTo>
                  <a:pt x="242" y="223"/>
                  <a:pt x="252" y="231"/>
                  <a:pt x="266" y="231"/>
                </a:cubicBezTo>
                <a:cubicBezTo>
                  <a:pt x="266" y="231"/>
                  <a:pt x="266" y="231"/>
                  <a:pt x="266" y="231"/>
                </a:cubicBezTo>
                <a:cubicBezTo>
                  <a:pt x="279" y="231"/>
                  <a:pt x="290" y="223"/>
                  <a:pt x="290" y="210"/>
                </a:cubicBezTo>
                <a:cubicBezTo>
                  <a:pt x="290" y="197"/>
                  <a:pt x="281" y="189"/>
                  <a:pt x="267" y="189"/>
                </a:cubicBezTo>
                <a:moveTo>
                  <a:pt x="224" y="207"/>
                </a:moveTo>
                <a:cubicBezTo>
                  <a:pt x="224" y="213"/>
                  <a:pt x="224" y="218"/>
                  <a:pt x="224" y="223"/>
                </a:cubicBezTo>
                <a:cubicBezTo>
                  <a:pt x="224" y="223"/>
                  <a:pt x="224" y="223"/>
                  <a:pt x="224" y="223"/>
                </a:cubicBezTo>
                <a:cubicBezTo>
                  <a:pt x="222" y="219"/>
                  <a:pt x="219" y="215"/>
                  <a:pt x="215" y="210"/>
                </a:cubicBezTo>
                <a:cubicBezTo>
                  <a:pt x="198" y="190"/>
                  <a:pt x="198" y="190"/>
                  <a:pt x="198" y="190"/>
                </a:cubicBezTo>
                <a:cubicBezTo>
                  <a:pt x="191" y="190"/>
                  <a:pt x="191" y="190"/>
                  <a:pt x="191" y="190"/>
                </a:cubicBezTo>
                <a:cubicBezTo>
                  <a:pt x="191" y="230"/>
                  <a:pt x="191" y="230"/>
                  <a:pt x="191" y="230"/>
                </a:cubicBezTo>
                <a:cubicBezTo>
                  <a:pt x="197" y="230"/>
                  <a:pt x="197" y="230"/>
                  <a:pt x="197" y="230"/>
                </a:cubicBezTo>
                <a:cubicBezTo>
                  <a:pt x="197" y="213"/>
                  <a:pt x="197" y="213"/>
                  <a:pt x="197" y="213"/>
                </a:cubicBezTo>
                <a:cubicBezTo>
                  <a:pt x="197" y="206"/>
                  <a:pt x="197" y="201"/>
                  <a:pt x="197" y="196"/>
                </a:cubicBezTo>
                <a:cubicBezTo>
                  <a:pt x="197" y="196"/>
                  <a:pt x="197" y="196"/>
                  <a:pt x="197" y="196"/>
                </a:cubicBezTo>
                <a:cubicBezTo>
                  <a:pt x="199" y="201"/>
                  <a:pt x="203" y="205"/>
                  <a:pt x="206" y="210"/>
                </a:cubicBezTo>
                <a:cubicBezTo>
                  <a:pt x="223" y="230"/>
                  <a:pt x="223" y="230"/>
                  <a:pt x="223" y="230"/>
                </a:cubicBezTo>
                <a:cubicBezTo>
                  <a:pt x="230" y="230"/>
                  <a:pt x="230" y="230"/>
                  <a:pt x="230" y="230"/>
                </a:cubicBezTo>
                <a:cubicBezTo>
                  <a:pt x="230" y="190"/>
                  <a:pt x="230" y="190"/>
                  <a:pt x="230" y="190"/>
                </a:cubicBezTo>
                <a:cubicBezTo>
                  <a:pt x="224" y="190"/>
                  <a:pt x="224" y="190"/>
                  <a:pt x="224" y="190"/>
                </a:cubicBezTo>
                <a:lnTo>
                  <a:pt x="224" y="207"/>
                </a:lnTo>
                <a:close/>
                <a:moveTo>
                  <a:pt x="84" y="143"/>
                </a:moveTo>
                <a:cubicBezTo>
                  <a:pt x="57" y="143"/>
                  <a:pt x="57" y="143"/>
                  <a:pt x="57" y="143"/>
                </a:cubicBezTo>
                <a:cubicBezTo>
                  <a:pt x="57" y="143"/>
                  <a:pt x="57" y="143"/>
                  <a:pt x="57" y="143"/>
                </a:cubicBezTo>
                <a:cubicBezTo>
                  <a:pt x="57" y="143"/>
                  <a:pt x="57" y="143"/>
                  <a:pt x="57" y="143"/>
                </a:cubicBezTo>
                <a:cubicBezTo>
                  <a:pt x="49" y="142"/>
                  <a:pt x="44" y="141"/>
                  <a:pt x="39" y="139"/>
                </a:cubicBezTo>
                <a:cubicBezTo>
                  <a:pt x="34" y="137"/>
                  <a:pt x="31" y="134"/>
                  <a:pt x="31" y="129"/>
                </a:cubicBezTo>
                <a:cubicBezTo>
                  <a:pt x="31" y="125"/>
                  <a:pt x="31" y="118"/>
                  <a:pt x="35" y="113"/>
                </a:cubicBezTo>
                <a:cubicBezTo>
                  <a:pt x="40" y="105"/>
                  <a:pt x="56" y="99"/>
                  <a:pt x="56" y="99"/>
                </a:cubicBezTo>
                <a:cubicBezTo>
                  <a:pt x="65" y="95"/>
                  <a:pt x="76" y="91"/>
                  <a:pt x="89" y="88"/>
                </a:cubicBezTo>
                <a:lnTo>
                  <a:pt x="84" y="143"/>
                </a:lnTo>
                <a:close/>
                <a:moveTo>
                  <a:pt x="105" y="45"/>
                </a:moveTo>
                <a:cubicBezTo>
                  <a:pt x="95" y="41"/>
                  <a:pt x="83" y="39"/>
                  <a:pt x="57" y="39"/>
                </a:cubicBezTo>
                <a:cubicBezTo>
                  <a:pt x="34" y="39"/>
                  <a:pt x="34" y="39"/>
                  <a:pt x="34" y="39"/>
                </a:cubicBezTo>
                <a:cubicBezTo>
                  <a:pt x="34" y="44"/>
                  <a:pt x="36" y="50"/>
                  <a:pt x="42" y="53"/>
                </a:cubicBezTo>
                <a:cubicBezTo>
                  <a:pt x="56" y="53"/>
                  <a:pt x="56" y="53"/>
                  <a:pt x="56" y="53"/>
                </a:cubicBezTo>
                <a:cubicBezTo>
                  <a:pt x="72" y="53"/>
                  <a:pt x="80" y="55"/>
                  <a:pt x="82" y="56"/>
                </a:cubicBezTo>
                <a:cubicBezTo>
                  <a:pt x="88" y="59"/>
                  <a:pt x="91" y="63"/>
                  <a:pt x="90" y="69"/>
                </a:cubicBezTo>
                <a:cubicBezTo>
                  <a:pt x="90" y="73"/>
                  <a:pt x="90" y="73"/>
                  <a:pt x="90" y="73"/>
                </a:cubicBezTo>
                <a:cubicBezTo>
                  <a:pt x="58" y="82"/>
                  <a:pt x="29" y="92"/>
                  <a:pt x="15" y="103"/>
                </a:cubicBezTo>
                <a:cubicBezTo>
                  <a:pt x="6" y="108"/>
                  <a:pt x="2" y="116"/>
                  <a:pt x="1" y="125"/>
                </a:cubicBezTo>
                <a:cubicBezTo>
                  <a:pt x="0" y="136"/>
                  <a:pt x="4" y="145"/>
                  <a:pt x="16" y="151"/>
                </a:cubicBezTo>
                <a:cubicBezTo>
                  <a:pt x="28" y="156"/>
                  <a:pt x="42" y="157"/>
                  <a:pt x="62" y="157"/>
                </a:cubicBezTo>
                <a:cubicBezTo>
                  <a:pt x="79" y="157"/>
                  <a:pt x="79" y="157"/>
                  <a:pt x="79" y="157"/>
                </a:cubicBezTo>
                <a:cubicBezTo>
                  <a:pt x="85" y="157"/>
                  <a:pt x="93" y="156"/>
                  <a:pt x="98" y="154"/>
                </a:cubicBezTo>
                <a:cubicBezTo>
                  <a:pt x="112" y="148"/>
                  <a:pt x="115" y="136"/>
                  <a:pt x="116" y="125"/>
                </a:cubicBezTo>
                <a:cubicBezTo>
                  <a:pt x="121" y="65"/>
                  <a:pt x="121" y="65"/>
                  <a:pt x="121" y="65"/>
                </a:cubicBezTo>
                <a:cubicBezTo>
                  <a:pt x="120" y="56"/>
                  <a:pt x="115" y="49"/>
                  <a:pt x="105" y="45"/>
                </a:cubicBezTo>
                <a:moveTo>
                  <a:pt x="176" y="53"/>
                </a:moveTo>
                <a:cubicBezTo>
                  <a:pt x="178" y="31"/>
                  <a:pt x="178" y="31"/>
                  <a:pt x="178" y="31"/>
                </a:cubicBezTo>
                <a:cubicBezTo>
                  <a:pt x="179" y="24"/>
                  <a:pt x="180" y="20"/>
                  <a:pt x="186" y="18"/>
                </a:cubicBezTo>
                <a:cubicBezTo>
                  <a:pt x="192" y="16"/>
                  <a:pt x="201" y="15"/>
                  <a:pt x="212" y="15"/>
                </a:cubicBezTo>
                <a:cubicBezTo>
                  <a:pt x="238" y="15"/>
                  <a:pt x="238" y="15"/>
                  <a:pt x="238" y="15"/>
                </a:cubicBezTo>
                <a:cubicBezTo>
                  <a:pt x="244" y="12"/>
                  <a:pt x="246" y="6"/>
                  <a:pt x="246" y="0"/>
                </a:cubicBezTo>
                <a:cubicBezTo>
                  <a:pt x="212" y="0"/>
                  <a:pt x="212" y="0"/>
                  <a:pt x="212" y="0"/>
                </a:cubicBezTo>
                <a:cubicBezTo>
                  <a:pt x="192" y="0"/>
                  <a:pt x="180" y="2"/>
                  <a:pt x="168" y="7"/>
                </a:cubicBezTo>
                <a:cubicBezTo>
                  <a:pt x="154" y="12"/>
                  <a:pt x="149" y="21"/>
                  <a:pt x="148" y="32"/>
                </a:cubicBezTo>
                <a:cubicBezTo>
                  <a:pt x="146" y="59"/>
                  <a:pt x="146" y="59"/>
                  <a:pt x="146" y="59"/>
                </a:cubicBezTo>
                <a:cubicBezTo>
                  <a:pt x="141" y="60"/>
                  <a:pt x="136" y="61"/>
                  <a:pt x="132" y="62"/>
                </a:cubicBezTo>
                <a:cubicBezTo>
                  <a:pt x="127" y="67"/>
                  <a:pt x="126" y="73"/>
                  <a:pt x="127" y="79"/>
                </a:cubicBezTo>
                <a:cubicBezTo>
                  <a:pt x="127" y="79"/>
                  <a:pt x="127" y="79"/>
                  <a:pt x="127" y="79"/>
                </a:cubicBezTo>
                <a:cubicBezTo>
                  <a:pt x="132" y="77"/>
                  <a:pt x="139" y="76"/>
                  <a:pt x="144" y="75"/>
                </a:cubicBezTo>
                <a:cubicBezTo>
                  <a:pt x="138" y="156"/>
                  <a:pt x="138" y="156"/>
                  <a:pt x="138" y="156"/>
                </a:cubicBezTo>
                <a:cubicBezTo>
                  <a:pt x="168" y="156"/>
                  <a:pt x="168" y="156"/>
                  <a:pt x="168" y="156"/>
                </a:cubicBezTo>
                <a:cubicBezTo>
                  <a:pt x="175" y="68"/>
                  <a:pt x="175" y="68"/>
                  <a:pt x="175" y="68"/>
                </a:cubicBezTo>
                <a:cubicBezTo>
                  <a:pt x="251" y="53"/>
                  <a:pt x="314" y="49"/>
                  <a:pt x="465" y="49"/>
                </a:cubicBezTo>
                <a:cubicBezTo>
                  <a:pt x="469" y="46"/>
                  <a:pt x="470" y="43"/>
                  <a:pt x="471" y="39"/>
                </a:cubicBezTo>
                <a:cubicBezTo>
                  <a:pt x="345" y="39"/>
                  <a:pt x="248" y="40"/>
                  <a:pt x="176" y="53"/>
                </a:cubicBezTo>
                <a:moveTo>
                  <a:pt x="435" y="95"/>
                </a:moveTo>
                <a:cubicBezTo>
                  <a:pt x="433" y="127"/>
                  <a:pt x="433" y="127"/>
                  <a:pt x="433" y="127"/>
                </a:cubicBezTo>
                <a:cubicBezTo>
                  <a:pt x="432" y="133"/>
                  <a:pt x="429" y="137"/>
                  <a:pt x="423" y="139"/>
                </a:cubicBezTo>
                <a:cubicBezTo>
                  <a:pt x="417" y="142"/>
                  <a:pt x="409" y="143"/>
                  <a:pt x="399" y="143"/>
                </a:cubicBezTo>
                <a:cubicBezTo>
                  <a:pt x="390" y="143"/>
                  <a:pt x="382" y="142"/>
                  <a:pt x="377" y="139"/>
                </a:cubicBezTo>
                <a:cubicBezTo>
                  <a:pt x="371" y="137"/>
                  <a:pt x="368" y="133"/>
                  <a:pt x="369" y="127"/>
                </a:cubicBezTo>
                <a:cubicBezTo>
                  <a:pt x="372" y="95"/>
                  <a:pt x="372" y="95"/>
                  <a:pt x="372" y="95"/>
                </a:cubicBezTo>
                <a:cubicBezTo>
                  <a:pt x="372" y="89"/>
                  <a:pt x="376" y="85"/>
                  <a:pt x="382" y="83"/>
                </a:cubicBezTo>
                <a:cubicBezTo>
                  <a:pt x="387" y="81"/>
                  <a:pt x="395" y="79"/>
                  <a:pt x="405" y="79"/>
                </a:cubicBezTo>
                <a:cubicBezTo>
                  <a:pt x="415" y="79"/>
                  <a:pt x="422" y="81"/>
                  <a:pt x="427" y="83"/>
                </a:cubicBezTo>
                <a:cubicBezTo>
                  <a:pt x="433" y="85"/>
                  <a:pt x="436" y="89"/>
                  <a:pt x="435" y="95"/>
                </a:cubicBezTo>
                <a:moveTo>
                  <a:pt x="450" y="71"/>
                </a:moveTo>
                <a:cubicBezTo>
                  <a:pt x="439" y="66"/>
                  <a:pt x="426" y="65"/>
                  <a:pt x="408" y="65"/>
                </a:cubicBezTo>
                <a:cubicBezTo>
                  <a:pt x="404" y="65"/>
                  <a:pt x="404" y="65"/>
                  <a:pt x="404" y="65"/>
                </a:cubicBezTo>
                <a:cubicBezTo>
                  <a:pt x="386" y="65"/>
                  <a:pt x="373" y="66"/>
                  <a:pt x="361" y="71"/>
                </a:cubicBezTo>
                <a:cubicBezTo>
                  <a:pt x="348" y="77"/>
                  <a:pt x="342" y="86"/>
                  <a:pt x="341" y="97"/>
                </a:cubicBezTo>
                <a:cubicBezTo>
                  <a:pt x="339" y="125"/>
                  <a:pt x="339" y="125"/>
                  <a:pt x="339" y="125"/>
                </a:cubicBezTo>
                <a:cubicBezTo>
                  <a:pt x="338" y="136"/>
                  <a:pt x="342" y="145"/>
                  <a:pt x="354" y="151"/>
                </a:cubicBezTo>
                <a:cubicBezTo>
                  <a:pt x="365" y="156"/>
                  <a:pt x="378" y="157"/>
                  <a:pt x="396" y="157"/>
                </a:cubicBezTo>
                <a:cubicBezTo>
                  <a:pt x="400" y="157"/>
                  <a:pt x="400" y="157"/>
                  <a:pt x="400" y="157"/>
                </a:cubicBezTo>
                <a:cubicBezTo>
                  <a:pt x="418" y="157"/>
                  <a:pt x="432" y="156"/>
                  <a:pt x="443" y="151"/>
                </a:cubicBezTo>
                <a:cubicBezTo>
                  <a:pt x="457" y="145"/>
                  <a:pt x="462" y="136"/>
                  <a:pt x="463" y="125"/>
                </a:cubicBezTo>
                <a:cubicBezTo>
                  <a:pt x="465" y="97"/>
                  <a:pt x="465" y="97"/>
                  <a:pt x="465" y="97"/>
                </a:cubicBezTo>
                <a:cubicBezTo>
                  <a:pt x="466" y="86"/>
                  <a:pt x="463" y="77"/>
                  <a:pt x="450" y="71"/>
                </a:cubicBezTo>
                <a:moveTo>
                  <a:pt x="556" y="39"/>
                </a:moveTo>
                <a:cubicBezTo>
                  <a:pt x="536" y="39"/>
                  <a:pt x="522" y="40"/>
                  <a:pt x="509" y="45"/>
                </a:cubicBezTo>
                <a:cubicBezTo>
                  <a:pt x="496" y="50"/>
                  <a:pt x="491" y="60"/>
                  <a:pt x="490" y="70"/>
                </a:cubicBezTo>
                <a:cubicBezTo>
                  <a:pt x="482" y="156"/>
                  <a:pt x="482" y="156"/>
                  <a:pt x="482" y="156"/>
                </a:cubicBezTo>
                <a:cubicBezTo>
                  <a:pt x="512" y="156"/>
                  <a:pt x="512" y="156"/>
                  <a:pt x="512" y="156"/>
                </a:cubicBezTo>
                <a:cubicBezTo>
                  <a:pt x="520" y="69"/>
                  <a:pt x="520" y="69"/>
                  <a:pt x="520" y="69"/>
                </a:cubicBezTo>
                <a:cubicBezTo>
                  <a:pt x="520" y="63"/>
                  <a:pt x="524" y="59"/>
                  <a:pt x="530" y="56"/>
                </a:cubicBezTo>
                <a:cubicBezTo>
                  <a:pt x="536" y="54"/>
                  <a:pt x="545" y="53"/>
                  <a:pt x="557" y="53"/>
                </a:cubicBezTo>
                <a:cubicBezTo>
                  <a:pt x="563" y="53"/>
                  <a:pt x="563" y="53"/>
                  <a:pt x="563" y="53"/>
                </a:cubicBezTo>
                <a:cubicBezTo>
                  <a:pt x="569" y="50"/>
                  <a:pt x="571" y="44"/>
                  <a:pt x="571" y="39"/>
                </a:cubicBezTo>
                <a:cubicBezTo>
                  <a:pt x="556" y="39"/>
                  <a:pt x="556" y="39"/>
                  <a:pt x="556" y="39"/>
                </a:cubicBezTo>
                <a:close/>
                <a:moveTo>
                  <a:pt x="281" y="91"/>
                </a:moveTo>
                <a:cubicBezTo>
                  <a:pt x="287" y="93"/>
                  <a:pt x="289" y="97"/>
                  <a:pt x="289" y="103"/>
                </a:cubicBezTo>
                <a:cubicBezTo>
                  <a:pt x="285" y="156"/>
                  <a:pt x="285" y="156"/>
                  <a:pt x="285" y="156"/>
                </a:cubicBezTo>
                <a:cubicBezTo>
                  <a:pt x="315" y="156"/>
                  <a:pt x="315" y="156"/>
                  <a:pt x="315" y="156"/>
                </a:cubicBezTo>
                <a:cubicBezTo>
                  <a:pt x="319" y="105"/>
                  <a:pt x="319" y="105"/>
                  <a:pt x="319" y="105"/>
                </a:cubicBezTo>
                <a:cubicBezTo>
                  <a:pt x="320" y="94"/>
                  <a:pt x="316" y="85"/>
                  <a:pt x="304" y="79"/>
                </a:cubicBezTo>
                <a:cubicBezTo>
                  <a:pt x="293" y="74"/>
                  <a:pt x="280" y="73"/>
                  <a:pt x="261" y="73"/>
                </a:cubicBezTo>
                <a:cubicBezTo>
                  <a:pt x="258" y="73"/>
                  <a:pt x="258" y="73"/>
                  <a:pt x="258" y="73"/>
                </a:cubicBezTo>
                <a:cubicBezTo>
                  <a:pt x="240" y="73"/>
                  <a:pt x="226" y="74"/>
                  <a:pt x="215" y="79"/>
                </a:cubicBezTo>
                <a:cubicBezTo>
                  <a:pt x="201" y="85"/>
                  <a:pt x="196" y="94"/>
                  <a:pt x="195" y="105"/>
                </a:cubicBezTo>
                <a:cubicBezTo>
                  <a:pt x="191" y="156"/>
                  <a:pt x="191" y="156"/>
                  <a:pt x="191" y="156"/>
                </a:cubicBezTo>
                <a:cubicBezTo>
                  <a:pt x="221" y="156"/>
                  <a:pt x="221" y="156"/>
                  <a:pt x="221" y="156"/>
                </a:cubicBezTo>
                <a:cubicBezTo>
                  <a:pt x="225" y="103"/>
                  <a:pt x="225" y="103"/>
                  <a:pt x="225" y="103"/>
                </a:cubicBezTo>
                <a:cubicBezTo>
                  <a:pt x="226" y="97"/>
                  <a:pt x="229" y="93"/>
                  <a:pt x="235" y="91"/>
                </a:cubicBezTo>
                <a:cubicBezTo>
                  <a:pt x="241" y="89"/>
                  <a:pt x="249" y="87"/>
                  <a:pt x="258" y="87"/>
                </a:cubicBezTo>
                <a:cubicBezTo>
                  <a:pt x="268" y="87"/>
                  <a:pt x="276" y="89"/>
                  <a:pt x="281" y="91"/>
                </a:cubicBezTo>
              </a:path>
            </a:pathLst>
          </a:custGeom>
          <a:solidFill>
            <a:srgbClr val="000003"/>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7" name="TextBox 6"/>
          <p:cNvSpPr txBox="1"/>
          <p:nvPr userDrawn="1"/>
        </p:nvSpPr>
        <p:spPr>
          <a:xfrm>
            <a:off x="3717422" y="3298676"/>
            <a:ext cx="2024913" cy="1215717"/>
          </a:xfrm>
          <a:prstGeom prst="rect">
            <a:avLst/>
          </a:prstGeom>
          <a:noFill/>
        </p:spPr>
        <p:txBody>
          <a:bodyPr wrap="none" rtlCol="0">
            <a:spAutoFit/>
          </a:bodyPr>
          <a:lstStyle/>
          <a:p>
            <a:pPr>
              <a:spcAft>
                <a:spcPts val="600"/>
              </a:spcAft>
            </a:pPr>
            <a:r>
              <a:rPr lang="fr-FR" sz="3200" b="1" kern="1200" baseline="0" noProof="0" dirty="0">
                <a:solidFill>
                  <a:schemeClr val="tx1"/>
                </a:solidFill>
                <a:latin typeface="+mn-lt"/>
                <a:ea typeface="+mn-ea"/>
                <a:cs typeface="+mn-cs"/>
              </a:rPr>
              <a:t>MERCI !</a:t>
            </a:r>
          </a:p>
          <a:p>
            <a:r>
              <a:rPr lang="fr-FR" sz="900" kern="1200" baseline="0" noProof="0" dirty="0">
                <a:solidFill>
                  <a:schemeClr val="tx1"/>
                </a:solidFill>
                <a:latin typeface="+mn-lt"/>
                <a:ea typeface="+mn-ea"/>
                <a:cs typeface="+mn-cs"/>
              </a:rPr>
              <a:t>11 rue Francis de </a:t>
            </a:r>
            <a:r>
              <a:rPr lang="fr-FR" sz="900" kern="1200" baseline="0" noProof="0" dirty="0" err="1">
                <a:solidFill>
                  <a:schemeClr val="tx1"/>
                </a:solidFill>
                <a:latin typeface="+mn-lt"/>
                <a:ea typeface="+mn-ea"/>
                <a:cs typeface="+mn-cs"/>
              </a:rPr>
              <a:t>Pressensé</a:t>
            </a:r>
            <a:endParaRPr lang="fr-FR" sz="900" kern="1200" baseline="0" noProof="0" dirty="0">
              <a:solidFill>
                <a:schemeClr val="tx1"/>
              </a:solidFill>
              <a:latin typeface="+mn-lt"/>
              <a:ea typeface="+mn-ea"/>
              <a:cs typeface="+mn-cs"/>
            </a:endParaRPr>
          </a:p>
          <a:p>
            <a:r>
              <a:rPr lang="fr-FR" sz="900" kern="1200" baseline="0" noProof="0" dirty="0">
                <a:solidFill>
                  <a:schemeClr val="tx1"/>
                </a:solidFill>
                <a:latin typeface="+mn-lt"/>
                <a:ea typeface="+mn-ea"/>
                <a:cs typeface="+mn-cs"/>
              </a:rPr>
              <a:t>93 571 La Plaine Saint-Denis Cedex</a:t>
            </a:r>
          </a:p>
          <a:p>
            <a:r>
              <a:rPr lang="fr-FR" sz="900" kern="1200" baseline="0" noProof="0" dirty="0">
                <a:solidFill>
                  <a:schemeClr val="tx1"/>
                </a:solidFill>
                <a:latin typeface="+mn-lt"/>
                <a:ea typeface="+mn-ea"/>
                <a:cs typeface="+mn-cs"/>
              </a:rPr>
              <a:t>Tél. 01 41 62 80 00</a:t>
            </a:r>
          </a:p>
          <a:p>
            <a:r>
              <a:rPr lang="fr-FR" sz="900" kern="1200" baseline="0" noProof="0" dirty="0">
                <a:solidFill>
                  <a:schemeClr val="tx1"/>
                </a:solidFill>
                <a:latin typeface="+mn-lt"/>
                <a:ea typeface="+mn-ea"/>
                <a:cs typeface="+mn-cs"/>
              </a:rPr>
              <a:t>Fax. 01 49 17 90 00</a:t>
            </a:r>
            <a:endParaRPr lang="fr-FR" sz="1200" noProof="0" dirty="0"/>
          </a:p>
        </p:txBody>
      </p:sp>
    </p:spTree>
    <p:extLst>
      <p:ext uri="{BB962C8B-B14F-4D97-AF65-F5344CB8AC3E}">
        <p14:creationId xmlns:p14="http://schemas.microsoft.com/office/powerpoint/2010/main" val="28343158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A91D85-2D93-4BBE-A368-F819156AC545}" type="datetimeFigureOut">
              <a:rPr lang="en-GB" smtClean="0"/>
              <a:t>09/05/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45BFD849-DC76-423D-838A-E4C765EC0997}" type="slidenum">
              <a:rPr lang="en-GB" smtClean="0"/>
              <a:t>‹N°›</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7544" y="332656"/>
            <a:ext cx="769248" cy="707212"/>
          </a:xfrm>
          <a:prstGeom prst="rect">
            <a:avLst/>
          </a:prstGeom>
        </p:spPr>
      </p:pic>
    </p:spTree>
    <p:extLst>
      <p:ext uri="{BB962C8B-B14F-4D97-AF65-F5344CB8AC3E}">
        <p14:creationId xmlns:p14="http://schemas.microsoft.com/office/powerpoint/2010/main" val="2800183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re &amp; Contenu">
  <p:cSld name="1_Titre &amp; Contenu">
    <p:spTree>
      <p:nvGrpSpPr>
        <p:cNvPr id="1" name="Shape 17"/>
        <p:cNvGrpSpPr/>
        <p:nvPr/>
      </p:nvGrpSpPr>
      <p:grpSpPr>
        <a:xfrm>
          <a:off x="0" y="0"/>
          <a:ext cx="0" cy="0"/>
          <a:chOff x="0" y="0"/>
          <a:chExt cx="0" cy="0"/>
        </a:xfrm>
      </p:grpSpPr>
      <p:sp>
        <p:nvSpPr>
          <p:cNvPr id="18" name="Google Shape;18;p6"/>
          <p:cNvSpPr txBox="1">
            <a:spLocks noGrp="1"/>
          </p:cNvSpPr>
          <p:nvPr>
            <p:ph type="body" idx="1"/>
          </p:nvPr>
        </p:nvSpPr>
        <p:spPr>
          <a:xfrm>
            <a:off x="641350" y="1802675"/>
            <a:ext cx="7861300" cy="4171405"/>
          </a:xfrm>
          <a:prstGeom prst="rect">
            <a:avLst/>
          </a:prstGeom>
          <a:noFill/>
          <a:ln>
            <a:noFill/>
          </a:ln>
        </p:spPr>
        <p:txBody>
          <a:bodyPr spcFirstLastPara="1" wrap="square" lIns="0" tIns="0" rIns="0" bIns="0" anchor="t" anchorCtr="0">
            <a:noAutofit/>
          </a:bodyPr>
          <a:lstStyle>
            <a:lvl1pPr marL="457200" lvl="0" indent="-228600" algn="just">
              <a:lnSpc>
                <a:spcPct val="100000"/>
              </a:lnSpc>
              <a:spcBef>
                <a:spcPts val="0"/>
              </a:spcBef>
              <a:spcAft>
                <a:spcPts val="0"/>
              </a:spcAft>
              <a:buSzPts val="1800"/>
              <a:buNone/>
              <a:defRPr/>
            </a:lvl1pPr>
            <a:lvl2pPr marL="914400" lvl="1" indent="-320040" algn="just">
              <a:lnSpc>
                <a:spcPct val="100000"/>
              </a:lnSpc>
              <a:spcBef>
                <a:spcPts val="30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19" name="Google Shape;19;p6"/>
          <p:cNvSpPr txBox="1">
            <a:spLocks noGrp="1"/>
          </p:cNvSpPr>
          <p:nvPr>
            <p:ph type="title"/>
          </p:nvPr>
        </p:nvSpPr>
        <p:spPr>
          <a:xfrm>
            <a:off x="641350" y="544828"/>
            <a:ext cx="7861300" cy="76944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6"/>
          <p:cNvSpPr txBox="1">
            <a:spLocks noGrp="1"/>
          </p:cNvSpPr>
          <p:nvPr>
            <p:ph type="ftr" idx="11"/>
          </p:nvPr>
        </p:nvSpPr>
        <p:spPr>
          <a:xfrm>
            <a:off x="641350" y="6506642"/>
            <a:ext cx="958596" cy="123111"/>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SzPts val="1400"/>
              <a:buNone/>
              <a:defRPr sz="8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1502026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re Seul">
  <p:cSld name="Titre Seul">
    <p:spTree>
      <p:nvGrpSpPr>
        <p:cNvPr id="1" name="Shape 41"/>
        <p:cNvGrpSpPr/>
        <p:nvPr/>
      </p:nvGrpSpPr>
      <p:grpSpPr>
        <a:xfrm>
          <a:off x="0" y="0"/>
          <a:ext cx="0" cy="0"/>
          <a:chOff x="0" y="0"/>
          <a:chExt cx="0" cy="0"/>
        </a:xfrm>
      </p:grpSpPr>
      <p:sp>
        <p:nvSpPr>
          <p:cNvPr id="42" name="Google Shape;42;p9"/>
          <p:cNvSpPr txBox="1">
            <a:spLocks noGrp="1"/>
          </p:cNvSpPr>
          <p:nvPr>
            <p:ph type="title"/>
          </p:nvPr>
        </p:nvSpPr>
        <p:spPr>
          <a:xfrm>
            <a:off x="641350" y="544828"/>
            <a:ext cx="7861300" cy="769441"/>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dk1"/>
              </a:buClr>
              <a:buSzPts val="2400"/>
              <a:buFont typeface="Arial"/>
              <a:buNone/>
              <a:defRPr sz="24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 name="Google Shape;43;p9"/>
          <p:cNvSpPr txBox="1">
            <a:spLocks noGrp="1"/>
          </p:cNvSpPr>
          <p:nvPr>
            <p:ph type="ftr" idx="11"/>
          </p:nvPr>
        </p:nvSpPr>
        <p:spPr>
          <a:xfrm>
            <a:off x="641350" y="6506642"/>
            <a:ext cx="958596" cy="123111"/>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SzPts val="1400"/>
              <a:buNone/>
              <a:defRPr sz="8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Graph + Paragraphe">
  <p:cSld name="Graph + Paragraphe">
    <p:spTree>
      <p:nvGrpSpPr>
        <p:cNvPr id="1" name="Shape 44"/>
        <p:cNvGrpSpPr/>
        <p:nvPr/>
      </p:nvGrpSpPr>
      <p:grpSpPr>
        <a:xfrm>
          <a:off x="0" y="0"/>
          <a:ext cx="0" cy="0"/>
          <a:chOff x="0" y="0"/>
          <a:chExt cx="0" cy="0"/>
        </a:xfrm>
      </p:grpSpPr>
      <p:sp>
        <p:nvSpPr>
          <p:cNvPr id="45" name="Google Shape;45;p10"/>
          <p:cNvSpPr txBox="1">
            <a:spLocks noGrp="1"/>
          </p:cNvSpPr>
          <p:nvPr>
            <p:ph type="title"/>
          </p:nvPr>
        </p:nvSpPr>
        <p:spPr>
          <a:xfrm>
            <a:off x="641350" y="544828"/>
            <a:ext cx="7861300" cy="769441"/>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chemeClr val="dk1"/>
              </a:buClr>
              <a:buSzPts val="2400"/>
              <a:buFont typeface="Arial"/>
              <a:buNone/>
              <a:defRPr sz="2400">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 name="Google Shape;46;p10"/>
          <p:cNvSpPr txBox="1">
            <a:spLocks noGrp="1"/>
          </p:cNvSpPr>
          <p:nvPr>
            <p:ph type="ftr" idx="11"/>
          </p:nvPr>
        </p:nvSpPr>
        <p:spPr>
          <a:xfrm>
            <a:off x="641350" y="6506642"/>
            <a:ext cx="958596" cy="123111"/>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SzPts val="1400"/>
              <a:buNone/>
              <a:defRPr sz="8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10"/>
          <p:cNvSpPr txBox="1">
            <a:spLocks noGrp="1"/>
          </p:cNvSpPr>
          <p:nvPr>
            <p:ph type="body" idx="1"/>
          </p:nvPr>
        </p:nvSpPr>
        <p:spPr>
          <a:xfrm>
            <a:off x="4330461" y="1988840"/>
            <a:ext cx="4172189" cy="3816424"/>
          </a:xfrm>
          <a:prstGeom prst="rect">
            <a:avLst/>
          </a:prstGeom>
          <a:noFill/>
          <a:ln>
            <a:noFill/>
          </a:ln>
        </p:spPr>
        <p:txBody>
          <a:bodyPr spcFirstLastPara="1" wrap="square" lIns="0" tIns="0" rIns="0" bIns="0" anchor="t" anchorCtr="0">
            <a:noAutofit/>
          </a:bodyPr>
          <a:lstStyle>
            <a:lvl1pPr marL="457200" lvl="0" indent="-228600" algn="just">
              <a:lnSpc>
                <a:spcPct val="100000"/>
              </a:lnSpc>
              <a:spcBef>
                <a:spcPts val="0"/>
              </a:spcBef>
              <a:spcAft>
                <a:spcPts val="0"/>
              </a:spcAft>
              <a:buSzPts val="1800"/>
              <a:buNone/>
              <a:defRPr/>
            </a:lvl1pPr>
            <a:lvl2pPr marL="914400" lvl="1" indent="-320040" algn="just">
              <a:lnSpc>
                <a:spcPct val="100000"/>
              </a:lnSpc>
              <a:spcBef>
                <a:spcPts val="300"/>
              </a:spcBef>
              <a:spcAft>
                <a:spcPts val="0"/>
              </a:spcAft>
              <a:buSzPts val="1440"/>
              <a:buChar char="•"/>
              <a:defRPr/>
            </a:lvl2pPr>
            <a:lvl3pPr marL="1371600" lvl="2" indent="-342900" algn="just">
              <a:lnSpc>
                <a:spcPct val="100000"/>
              </a:lnSpc>
              <a:spcBef>
                <a:spcPts val="300"/>
              </a:spcBef>
              <a:spcAft>
                <a:spcPts val="0"/>
              </a:spcAft>
              <a:buSzPts val="1800"/>
              <a:buChar char="◼"/>
              <a:defRPr/>
            </a:lvl3pPr>
            <a:lvl4pPr marL="1828800" lvl="3" indent="-342900" algn="just">
              <a:lnSpc>
                <a:spcPct val="100000"/>
              </a:lnSpc>
              <a:spcBef>
                <a:spcPts val="300"/>
              </a:spcBef>
              <a:spcAft>
                <a:spcPts val="0"/>
              </a:spcAft>
              <a:buSzPts val="1800"/>
              <a:buChar char="▪"/>
              <a:defRPr/>
            </a:lvl4pPr>
            <a:lvl5pPr marL="2286000" lvl="4" indent="-342900" algn="just">
              <a:lnSpc>
                <a:spcPct val="10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8" name="Google Shape;48;p10"/>
          <p:cNvSpPr/>
          <p:nvPr/>
        </p:nvSpPr>
        <p:spPr>
          <a:xfrm>
            <a:off x="539552" y="1988840"/>
            <a:ext cx="3507347" cy="3816424"/>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lide de Fin">
  <p:cSld name="Slide de Fin">
    <p:spTree>
      <p:nvGrpSpPr>
        <p:cNvPr id="1" name="Shape 49"/>
        <p:cNvGrpSpPr/>
        <p:nvPr/>
      </p:nvGrpSpPr>
      <p:grpSpPr>
        <a:xfrm>
          <a:off x="0" y="0"/>
          <a:ext cx="0" cy="0"/>
          <a:chOff x="0" y="0"/>
          <a:chExt cx="0" cy="0"/>
        </a:xfrm>
      </p:grpSpPr>
      <p:sp>
        <p:nvSpPr>
          <p:cNvPr id="50" name="Google Shape;50;p11"/>
          <p:cNvSpPr/>
          <p:nvPr/>
        </p:nvSpPr>
        <p:spPr>
          <a:xfrm>
            <a:off x="0" y="0"/>
            <a:ext cx="9140782" cy="6858000"/>
          </a:xfrm>
          <a:prstGeom prst="rect">
            <a:avLst/>
          </a:pr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1" name="Google Shape;51;p11"/>
          <p:cNvSpPr/>
          <p:nvPr/>
        </p:nvSpPr>
        <p:spPr>
          <a:xfrm rot="10800000">
            <a:off x="5575531" y="4227267"/>
            <a:ext cx="752357" cy="754115"/>
          </a:xfrm>
          <a:custGeom>
            <a:avLst/>
            <a:gdLst/>
            <a:ahLst/>
            <a:cxnLst/>
            <a:rect l="l" t="t" r="r" b="b"/>
            <a:pathLst>
              <a:path w="428" h="429" extrusionOk="0">
                <a:moveTo>
                  <a:pt x="428" y="0"/>
                </a:moveTo>
                <a:lnTo>
                  <a:pt x="0" y="0"/>
                </a:lnTo>
                <a:lnTo>
                  <a:pt x="0" y="429"/>
                </a:lnTo>
                <a:lnTo>
                  <a:pt x="65" y="363"/>
                </a:lnTo>
                <a:lnTo>
                  <a:pt x="65" y="66"/>
                </a:lnTo>
                <a:lnTo>
                  <a:pt x="363" y="66"/>
                </a:lnTo>
                <a:lnTo>
                  <a:pt x="428" y="0"/>
                </a:lnTo>
                <a:close/>
              </a:path>
            </a:pathLst>
          </a:custGeom>
          <a:solidFill>
            <a:srgbClr val="FFFFF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2" name="Google Shape;52;p11"/>
          <p:cNvSpPr/>
          <p:nvPr/>
        </p:nvSpPr>
        <p:spPr>
          <a:xfrm>
            <a:off x="7343281" y="5754131"/>
            <a:ext cx="1379498" cy="405425"/>
          </a:xfrm>
          <a:custGeom>
            <a:avLst/>
            <a:gdLst/>
            <a:ahLst/>
            <a:cxnLst/>
            <a:rect l="l" t="t" r="r" b="b"/>
            <a:pathLst>
              <a:path w="785" h="231" extrusionOk="0">
                <a:moveTo>
                  <a:pt x="779" y="190"/>
                </a:moveTo>
                <a:cubicBezTo>
                  <a:pt x="779" y="207"/>
                  <a:pt x="779" y="207"/>
                  <a:pt x="779" y="207"/>
                </a:cubicBezTo>
                <a:cubicBezTo>
                  <a:pt x="779" y="213"/>
                  <a:pt x="779" y="218"/>
                  <a:pt x="779" y="223"/>
                </a:cubicBezTo>
                <a:cubicBezTo>
                  <a:pt x="779" y="223"/>
                  <a:pt x="779" y="223"/>
                  <a:pt x="779" y="223"/>
                </a:cubicBezTo>
                <a:cubicBezTo>
                  <a:pt x="777" y="219"/>
                  <a:pt x="774" y="215"/>
                  <a:pt x="770" y="210"/>
                </a:cubicBezTo>
                <a:cubicBezTo>
                  <a:pt x="753" y="190"/>
                  <a:pt x="753" y="190"/>
                  <a:pt x="753" y="190"/>
                </a:cubicBezTo>
                <a:cubicBezTo>
                  <a:pt x="746" y="190"/>
                  <a:pt x="746" y="190"/>
                  <a:pt x="746" y="190"/>
                </a:cubicBezTo>
                <a:cubicBezTo>
                  <a:pt x="746" y="230"/>
                  <a:pt x="746" y="230"/>
                  <a:pt x="746" y="230"/>
                </a:cubicBezTo>
                <a:cubicBezTo>
                  <a:pt x="752" y="230"/>
                  <a:pt x="752" y="230"/>
                  <a:pt x="752" y="230"/>
                </a:cubicBezTo>
                <a:cubicBezTo>
                  <a:pt x="752" y="213"/>
                  <a:pt x="752" y="213"/>
                  <a:pt x="752" y="213"/>
                </a:cubicBezTo>
                <a:cubicBezTo>
                  <a:pt x="752" y="206"/>
                  <a:pt x="752" y="201"/>
                  <a:pt x="752" y="196"/>
                </a:cubicBezTo>
                <a:cubicBezTo>
                  <a:pt x="752" y="196"/>
                  <a:pt x="752" y="196"/>
                  <a:pt x="752" y="196"/>
                </a:cubicBezTo>
                <a:cubicBezTo>
                  <a:pt x="754" y="201"/>
                  <a:pt x="758" y="205"/>
                  <a:pt x="761" y="210"/>
                </a:cubicBezTo>
                <a:cubicBezTo>
                  <a:pt x="778" y="230"/>
                  <a:pt x="778" y="230"/>
                  <a:pt x="778" y="230"/>
                </a:cubicBezTo>
                <a:cubicBezTo>
                  <a:pt x="785" y="230"/>
                  <a:pt x="785" y="230"/>
                  <a:pt x="785" y="230"/>
                </a:cubicBezTo>
                <a:cubicBezTo>
                  <a:pt x="785" y="190"/>
                  <a:pt x="785" y="190"/>
                  <a:pt x="785" y="190"/>
                </a:cubicBezTo>
                <a:lnTo>
                  <a:pt x="779" y="190"/>
                </a:lnTo>
                <a:close/>
                <a:moveTo>
                  <a:pt x="708" y="227"/>
                </a:moveTo>
                <a:cubicBezTo>
                  <a:pt x="708" y="227"/>
                  <a:pt x="708" y="227"/>
                  <a:pt x="708" y="227"/>
                </a:cubicBezTo>
                <a:cubicBezTo>
                  <a:pt x="698" y="227"/>
                  <a:pt x="692" y="219"/>
                  <a:pt x="692" y="210"/>
                </a:cubicBezTo>
                <a:cubicBezTo>
                  <a:pt x="692" y="201"/>
                  <a:pt x="697" y="193"/>
                  <a:pt x="709" y="193"/>
                </a:cubicBezTo>
                <a:cubicBezTo>
                  <a:pt x="720" y="193"/>
                  <a:pt x="725" y="202"/>
                  <a:pt x="725" y="210"/>
                </a:cubicBezTo>
                <a:cubicBezTo>
                  <a:pt x="725" y="219"/>
                  <a:pt x="719" y="227"/>
                  <a:pt x="708" y="227"/>
                </a:cubicBezTo>
                <a:moveTo>
                  <a:pt x="709" y="189"/>
                </a:moveTo>
                <a:cubicBezTo>
                  <a:pt x="695" y="189"/>
                  <a:pt x="685" y="197"/>
                  <a:pt x="685" y="210"/>
                </a:cubicBezTo>
                <a:cubicBezTo>
                  <a:pt x="685" y="223"/>
                  <a:pt x="694" y="231"/>
                  <a:pt x="708" y="231"/>
                </a:cubicBezTo>
                <a:cubicBezTo>
                  <a:pt x="708" y="231"/>
                  <a:pt x="708" y="231"/>
                  <a:pt x="708" y="231"/>
                </a:cubicBezTo>
                <a:cubicBezTo>
                  <a:pt x="722" y="231"/>
                  <a:pt x="733" y="223"/>
                  <a:pt x="733" y="210"/>
                </a:cubicBezTo>
                <a:cubicBezTo>
                  <a:pt x="733" y="197"/>
                  <a:pt x="723" y="189"/>
                  <a:pt x="709" y="189"/>
                </a:cubicBezTo>
                <a:moveTo>
                  <a:pt x="665" y="230"/>
                </a:moveTo>
                <a:cubicBezTo>
                  <a:pt x="671" y="230"/>
                  <a:pt x="671" y="230"/>
                  <a:pt x="671" y="230"/>
                </a:cubicBezTo>
                <a:cubicBezTo>
                  <a:pt x="671" y="190"/>
                  <a:pt x="671" y="190"/>
                  <a:pt x="671" y="190"/>
                </a:cubicBezTo>
                <a:cubicBezTo>
                  <a:pt x="665" y="190"/>
                  <a:pt x="665" y="190"/>
                  <a:pt x="665" y="190"/>
                </a:cubicBezTo>
                <a:lnTo>
                  <a:pt x="665" y="230"/>
                </a:lnTo>
                <a:close/>
                <a:moveTo>
                  <a:pt x="616" y="194"/>
                </a:moveTo>
                <a:cubicBezTo>
                  <a:pt x="632" y="194"/>
                  <a:pt x="632" y="194"/>
                  <a:pt x="632" y="194"/>
                </a:cubicBezTo>
                <a:cubicBezTo>
                  <a:pt x="632" y="230"/>
                  <a:pt x="632" y="230"/>
                  <a:pt x="632" y="230"/>
                </a:cubicBezTo>
                <a:cubicBezTo>
                  <a:pt x="639" y="230"/>
                  <a:pt x="639" y="230"/>
                  <a:pt x="639" y="230"/>
                </a:cubicBezTo>
                <a:cubicBezTo>
                  <a:pt x="639" y="194"/>
                  <a:pt x="639" y="194"/>
                  <a:pt x="639" y="194"/>
                </a:cubicBezTo>
                <a:cubicBezTo>
                  <a:pt x="655" y="194"/>
                  <a:pt x="655" y="194"/>
                  <a:pt x="655" y="194"/>
                </a:cubicBezTo>
                <a:cubicBezTo>
                  <a:pt x="655" y="190"/>
                  <a:pt x="655" y="190"/>
                  <a:pt x="655" y="190"/>
                </a:cubicBezTo>
                <a:cubicBezTo>
                  <a:pt x="616" y="190"/>
                  <a:pt x="616" y="190"/>
                  <a:pt x="616" y="190"/>
                </a:cubicBezTo>
                <a:lnTo>
                  <a:pt x="616" y="194"/>
                </a:lnTo>
                <a:close/>
                <a:moveTo>
                  <a:pt x="586" y="213"/>
                </a:moveTo>
                <a:cubicBezTo>
                  <a:pt x="591" y="202"/>
                  <a:pt x="591" y="202"/>
                  <a:pt x="591" y="202"/>
                </a:cubicBezTo>
                <a:cubicBezTo>
                  <a:pt x="592" y="199"/>
                  <a:pt x="593" y="197"/>
                  <a:pt x="593" y="194"/>
                </a:cubicBezTo>
                <a:cubicBezTo>
                  <a:pt x="594" y="194"/>
                  <a:pt x="594" y="194"/>
                  <a:pt x="594" y="194"/>
                </a:cubicBezTo>
                <a:cubicBezTo>
                  <a:pt x="595" y="197"/>
                  <a:pt x="595" y="199"/>
                  <a:pt x="596" y="202"/>
                </a:cubicBezTo>
                <a:cubicBezTo>
                  <a:pt x="602" y="213"/>
                  <a:pt x="602" y="213"/>
                  <a:pt x="602" y="213"/>
                </a:cubicBezTo>
                <a:lnTo>
                  <a:pt x="586" y="213"/>
                </a:lnTo>
                <a:close/>
                <a:moveTo>
                  <a:pt x="590" y="190"/>
                </a:moveTo>
                <a:cubicBezTo>
                  <a:pt x="572" y="230"/>
                  <a:pt x="572" y="230"/>
                  <a:pt x="572" y="230"/>
                </a:cubicBezTo>
                <a:cubicBezTo>
                  <a:pt x="579" y="230"/>
                  <a:pt x="579" y="230"/>
                  <a:pt x="579" y="230"/>
                </a:cubicBezTo>
                <a:cubicBezTo>
                  <a:pt x="584" y="218"/>
                  <a:pt x="584" y="218"/>
                  <a:pt x="584" y="218"/>
                </a:cubicBezTo>
                <a:cubicBezTo>
                  <a:pt x="603" y="218"/>
                  <a:pt x="603" y="218"/>
                  <a:pt x="603" y="218"/>
                </a:cubicBezTo>
                <a:cubicBezTo>
                  <a:pt x="609" y="230"/>
                  <a:pt x="609" y="230"/>
                  <a:pt x="609" y="230"/>
                </a:cubicBezTo>
                <a:cubicBezTo>
                  <a:pt x="616" y="230"/>
                  <a:pt x="616" y="230"/>
                  <a:pt x="616" y="230"/>
                </a:cubicBezTo>
                <a:cubicBezTo>
                  <a:pt x="598" y="190"/>
                  <a:pt x="598" y="190"/>
                  <a:pt x="598" y="190"/>
                </a:cubicBezTo>
                <a:lnTo>
                  <a:pt x="590" y="190"/>
                </a:lnTo>
                <a:close/>
                <a:moveTo>
                  <a:pt x="549" y="207"/>
                </a:moveTo>
                <a:cubicBezTo>
                  <a:pt x="542" y="205"/>
                  <a:pt x="539" y="203"/>
                  <a:pt x="539" y="199"/>
                </a:cubicBezTo>
                <a:cubicBezTo>
                  <a:pt x="539" y="197"/>
                  <a:pt x="542" y="193"/>
                  <a:pt x="549" y="193"/>
                </a:cubicBezTo>
                <a:cubicBezTo>
                  <a:pt x="554" y="193"/>
                  <a:pt x="557" y="194"/>
                  <a:pt x="559" y="195"/>
                </a:cubicBezTo>
                <a:cubicBezTo>
                  <a:pt x="561" y="191"/>
                  <a:pt x="561" y="191"/>
                  <a:pt x="561" y="191"/>
                </a:cubicBezTo>
                <a:cubicBezTo>
                  <a:pt x="558" y="190"/>
                  <a:pt x="554" y="189"/>
                  <a:pt x="549" y="189"/>
                </a:cubicBezTo>
                <a:cubicBezTo>
                  <a:pt x="539" y="189"/>
                  <a:pt x="532" y="194"/>
                  <a:pt x="532" y="200"/>
                </a:cubicBezTo>
                <a:cubicBezTo>
                  <a:pt x="532" y="206"/>
                  <a:pt x="537" y="209"/>
                  <a:pt x="546" y="212"/>
                </a:cubicBezTo>
                <a:cubicBezTo>
                  <a:pt x="553" y="214"/>
                  <a:pt x="556" y="216"/>
                  <a:pt x="556" y="220"/>
                </a:cubicBezTo>
                <a:cubicBezTo>
                  <a:pt x="556" y="224"/>
                  <a:pt x="552" y="227"/>
                  <a:pt x="545" y="227"/>
                </a:cubicBezTo>
                <a:cubicBezTo>
                  <a:pt x="540" y="227"/>
                  <a:pt x="536" y="225"/>
                  <a:pt x="533" y="224"/>
                </a:cubicBezTo>
                <a:cubicBezTo>
                  <a:pt x="531" y="228"/>
                  <a:pt x="531" y="228"/>
                  <a:pt x="531" y="228"/>
                </a:cubicBezTo>
                <a:cubicBezTo>
                  <a:pt x="534" y="230"/>
                  <a:pt x="539" y="231"/>
                  <a:pt x="544" y="231"/>
                </a:cubicBezTo>
                <a:cubicBezTo>
                  <a:pt x="557" y="231"/>
                  <a:pt x="563" y="225"/>
                  <a:pt x="563" y="219"/>
                </a:cubicBezTo>
                <a:cubicBezTo>
                  <a:pt x="563" y="213"/>
                  <a:pt x="558" y="210"/>
                  <a:pt x="549" y="207"/>
                </a:cubicBezTo>
                <a:moveTo>
                  <a:pt x="511" y="230"/>
                </a:moveTo>
                <a:cubicBezTo>
                  <a:pt x="518" y="230"/>
                  <a:pt x="518" y="230"/>
                  <a:pt x="518" y="230"/>
                </a:cubicBezTo>
                <a:cubicBezTo>
                  <a:pt x="518" y="190"/>
                  <a:pt x="518" y="190"/>
                  <a:pt x="518" y="190"/>
                </a:cubicBezTo>
                <a:cubicBezTo>
                  <a:pt x="511" y="190"/>
                  <a:pt x="511" y="190"/>
                  <a:pt x="511" y="190"/>
                </a:cubicBezTo>
                <a:lnTo>
                  <a:pt x="511" y="230"/>
                </a:lnTo>
                <a:close/>
                <a:moveTo>
                  <a:pt x="477" y="190"/>
                </a:moveTo>
                <a:cubicBezTo>
                  <a:pt x="470" y="190"/>
                  <a:pt x="470" y="190"/>
                  <a:pt x="470" y="190"/>
                </a:cubicBezTo>
                <a:cubicBezTo>
                  <a:pt x="470" y="230"/>
                  <a:pt x="470" y="230"/>
                  <a:pt x="470" y="230"/>
                </a:cubicBezTo>
                <a:cubicBezTo>
                  <a:pt x="500" y="230"/>
                  <a:pt x="500" y="230"/>
                  <a:pt x="500" y="230"/>
                </a:cubicBezTo>
                <a:cubicBezTo>
                  <a:pt x="500" y="226"/>
                  <a:pt x="500" y="226"/>
                  <a:pt x="500" y="226"/>
                </a:cubicBezTo>
                <a:cubicBezTo>
                  <a:pt x="477" y="226"/>
                  <a:pt x="477" y="226"/>
                  <a:pt x="477" y="226"/>
                </a:cubicBezTo>
                <a:lnTo>
                  <a:pt x="477" y="190"/>
                </a:lnTo>
                <a:close/>
                <a:moveTo>
                  <a:pt x="428" y="213"/>
                </a:moveTo>
                <a:cubicBezTo>
                  <a:pt x="433" y="202"/>
                  <a:pt x="433" y="202"/>
                  <a:pt x="433" y="202"/>
                </a:cubicBezTo>
                <a:cubicBezTo>
                  <a:pt x="434" y="199"/>
                  <a:pt x="435" y="197"/>
                  <a:pt x="436" y="194"/>
                </a:cubicBezTo>
                <a:cubicBezTo>
                  <a:pt x="436" y="194"/>
                  <a:pt x="436" y="194"/>
                  <a:pt x="436" y="194"/>
                </a:cubicBezTo>
                <a:cubicBezTo>
                  <a:pt x="437" y="197"/>
                  <a:pt x="438" y="199"/>
                  <a:pt x="439" y="202"/>
                </a:cubicBezTo>
                <a:cubicBezTo>
                  <a:pt x="444" y="213"/>
                  <a:pt x="444" y="213"/>
                  <a:pt x="444" y="213"/>
                </a:cubicBezTo>
                <a:lnTo>
                  <a:pt x="428" y="213"/>
                </a:lnTo>
                <a:close/>
                <a:moveTo>
                  <a:pt x="432" y="190"/>
                </a:moveTo>
                <a:cubicBezTo>
                  <a:pt x="414" y="230"/>
                  <a:pt x="414" y="230"/>
                  <a:pt x="414" y="230"/>
                </a:cubicBezTo>
                <a:cubicBezTo>
                  <a:pt x="421" y="230"/>
                  <a:pt x="421" y="230"/>
                  <a:pt x="421" y="230"/>
                </a:cubicBezTo>
                <a:cubicBezTo>
                  <a:pt x="427" y="218"/>
                  <a:pt x="427" y="218"/>
                  <a:pt x="427" y="218"/>
                </a:cubicBezTo>
                <a:cubicBezTo>
                  <a:pt x="445" y="218"/>
                  <a:pt x="445" y="218"/>
                  <a:pt x="445" y="218"/>
                </a:cubicBezTo>
                <a:cubicBezTo>
                  <a:pt x="451" y="230"/>
                  <a:pt x="451" y="230"/>
                  <a:pt x="451" y="230"/>
                </a:cubicBezTo>
                <a:cubicBezTo>
                  <a:pt x="458" y="230"/>
                  <a:pt x="458" y="230"/>
                  <a:pt x="458" y="230"/>
                </a:cubicBezTo>
                <a:cubicBezTo>
                  <a:pt x="440" y="190"/>
                  <a:pt x="440" y="190"/>
                  <a:pt x="440" y="190"/>
                </a:cubicBezTo>
                <a:lnTo>
                  <a:pt x="432" y="190"/>
                </a:lnTo>
                <a:close/>
                <a:moveTo>
                  <a:pt x="391" y="190"/>
                </a:moveTo>
                <a:cubicBezTo>
                  <a:pt x="382" y="209"/>
                  <a:pt x="382" y="209"/>
                  <a:pt x="382" y="209"/>
                </a:cubicBezTo>
                <a:cubicBezTo>
                  <a:pt x="379" y="214"/>
                  <a:pt x="378" y="219"/>
                  <a:pt x="376" y="223"/>
                </a:cubicBezTo>
                <a:cubicBezTo>
                  <a:pt x="376" y="223"/>
                  <a:pt x="376" y="223"/>
                  <a:pt x="376" y="223"/>
                </a:cubicBezTo>
                <a:cubicBezTo>
                  <a:pt x="375" y="219"/>
                  <a:pt x="373" y="214"/>
                  <a:pt x="371" y="209"/>
                </a:cubicBezTo>
                <a:cubicBezTo>
                  <a:pt x="362" y="190"/>
                  <a:pt x="362" y="190"/>
                  <a:pt x="362" y="190"/>
                </a:cubicBezTo>
                <a:cubicBezTo>
                  <a:pt x="353" y="190"/>
                  <a:pt x="353" y="190"/>
                  <a:pt x="353" y="190"/>
                </a:cubicBezTo>
                <a:cubicBezTo>
                  <a:pt x="349" y="230"/>
                  <a:pt x="349" y="230"/>
                  <a:pt x="349" y="230"/>
                </a:cubicBezTo>
                <a:cubicBezTo>
                  <a:pt x="356" y="230"/>
                  <a:pt x="356" y="230"/>
                  <a:pt x="356" y="230"/>
                </a:cubicBezTo>
                <a:cubicBezTo>
                  <a:pt x="357" y="213"/>
                  <a:pt x="357" y="213"/>
                  <a:pt x="357" y="213"/>
                </a:cubicBezTo>
                <a:cubicBezTo>
                  <a:pt x="358" y="207"/>
                  <a:pt x="358" y="200"/>
                  <a:pt x="358" y="195"/>
                </a:cubicBezTo>
                <a:cubicBezTo>
                  <a:pt x="359" y="195"/>
                  <a:pt x="359" y="195"/>
                  <a:pt x="359" y="195"/>
                </a:cubicBezTo>
                <a:cubicBezTo>
                  <a:pt x="360" y="200"/>
                  <a:pt x="362" y="205"/>
                  <a:pt x="365" y="211"/>
                </a:cubicBezTo>
                <a:cubicBezTo>
                  <a:pt x="373" y="230"/>
                  <a:pt x="373" y="230"/>
                  <a:pt x="373" y="230"/>
                </a:cubicBezTo>
                <a:cubicBezTo>
                  <a:pt x="378" y="230"/>
                  <a:pt x="378" y="230"/>
                  <a:pt x="378" y="230"/>
                </a:cubicBezTo>
                <a:cubicBezTo>
                  <a:pt x="388" y="210"/>
                  <a:pt x="388" y="210"/>
                  <a:pt x="388" y="210"/>
                </a:cubicBezTo>
                <a:cubicBezTo>
                  <a:pt x="390" y="205"/>
                  <a:pt x="392" y="200"/>
                  <a:pt x="394" y="195"/>
                </a:cubicBezTo>
                <a:cubicBezTo>
                  <a:pt x="394" y="195"/>
                  <a:pt x="394" y="195"/>
                  <a:pt x="394" y="195"/>
                </a:cubicBezTo>
                <a:cubicBezTo>
                  <a:pt x="394" y="200"/>
                  <a:pt x="395" y="207"/>
                  <a:pt x="395" y="212"/>
                </a:cubicBezTo>
                <a:cubicBezTo>
                  <a:pt x="396" y="230"/>
                  <a:pt x="396" y="230"/>
                  <a:pt x="396" y="230"/>
                </a:cubicBezTo>
                <a:cubicBezTo>
                  <a:pt x="403" y="230"/>
                  <a:pt x="403" y="230"/>
                  <a:pt x="403" y="230"/>
                </a:cubicBezTo>
                <a:cubicBezTo>
                  <a:pt x="400" y="190"/>
                  <a:pt x="400" y="190"/>
                  <a:pt x="400" y="190"/>
                </a:cubicBezTo>
                <a:lnTo>
                  <a:pt x="391" y="190"/>
                </a:lnTo>
                <a:close/>
                <a:moveTo>
                  <a:pt x="316" y="209"/>
                </a:moveTo>
                <a:cubicBezTo>
                  <a:pt x="309" y="209"/>
                  <a:pt x="309" y="209"/>
                  <a:pt x="309" y="209"/>
                </a:cubicBezTo>
                <a:cubicBezTo>
                  <a:pt x="309" y="194"/>
                  <a:pt x="309" y="194"/>
                  <a:pt x="309" y="194"/>
                </a:cubicBezTo>
                <a:cubicBezTo>
                  <a:pt x="310" y="194"/>
                  <a:pt x="313" y="193"/>
                  <a:pt x="316" y="193"/>
                </a:cubicBezTo>
                <a:cubicBezTo>
                  <a:pt x="323" y="193"/>
                  <a:pt x="328" y="196"/>
                  <a:pt x="328" y="201"/>
                </a:cubicBezTo>
                <a:cubicBezTo>
                  <a:pt x="328" y="206"/>
                  <a:pt x="323" y="209"/>
                  <a:pt x="316" y="209"/>
                </a:cubicBezTo>
                <a:moveTo>
                  <a:pt x="325" y="211"/>
                </a:moveTo>
                <a:cubicBezTo>
                  <a:pt x="325" y="211"/>
                  <a:pt x="325" y="211"/>
                  <a:pt x="325" y="211"/>
                </a:cubicBezTo>
                <a:cubicBezTo>
                  <a:pt x="330" y="209"/>
                  <a:pt x="335" y="206"/>
                  <a:pt x="335" y="200"/>
                </a:cubicBezTo>
                <a:cubicBezTo>
                  <a:pt x="335" y="197"/>
                  <a:pt x="333" y="194"/>
                  <a:pt x="331" y="193"/>
                </a:cubicBezTo>
                <a:cubicBezTo>
                  <a:pt x="327" y="190"/>
                  <a:pt x="323" y="189"/>
                  <a:pt x="315" y="189"/>
                </a:cubicBezTo>
                <a:cubicBezTo>
                  <a:pt x="311" y="189"/>
                  <a:pt x="306" y="190"/>
                  <a:pt x="302" y="190"/>
                </a:cubicBezTo>
                <a:cubicBezTo>
                  <a:pt x="302" y="230"/>
                  <a:pt x="302" y="230"/>
                  <a:pt x="302" y="230"/>
                </a:cubicBezTo>
                <a:cubicBezTo>
                  <a:pt x="309" y="230"/>
                  <a:pt x="309" y="230"/>
                  <a:pt x="309" y="230"/>
                </a:cubicBezTo>
                <a:cubicBezTo>
                  <a:pt x="309" y="213"/>
                  <a:pt x="309" y="213"/>
                  <a:pt x="309" y="213"/>
                </a:cubicBezTo>
                <a:cubicBezTo>
                  <a:pt x="316" y="213"/>
                  <a:pt x="316" y="213"/>
                  <a:pt x="316" y="213"/>
                </a:cubicBezTo>
                <a:cubicBezTo>
                  <a:pt x="322" y="213"/>
                  <a:pt x="325" y="215"/>
                  <a:pt x="326" y="221"/>
                </a:cubicBezTo>
                <a:cubicBezTo>
                  <a:pt x="328" y="226"/>
                  <a:pt x="329" y="229"/>
                  <a:pt x="330" y="230"/>
                </a:cubicBezTo>
                <a:cubicBezTo>
                  <a:pt x="337" y="230"/>
                  <a:pt x="337" y="230"/>
                  <a:pt x="337" y="230"/>
                </a:cubicBezTo>
                <a:cubicBezTo>
                  <a:pt x="336" y="229"/>
                  <a:pt x="334" y="225"/>
                  <a:pt x="333" y="219"/>
                </a:cubicBezTo>
                <a:cubicBezTo>
                  <a:pt x="331" y="215"/>
                  <a:pt x="329" y="212"/>
                  <a:pt x="325" y="211"/>
                </a:cubicBezTo>
                <a:moveTo>
                  <a:pt x="266" y="227"/>
                </a:moveTo>
                <a:cubicBezTo>
                  <a:pt x="266" y="227"/>
                  <a:pt x="266" y="227"/>
                  <a:pt x="266" y="227"/>
                </a:cubicBezTo>
                <a:cubicBezTo>
                  <a:pt x="256" y="227"/>
                  <a:pt x="250" y="219"/>
                  <a:pt x="250" y="210"/>
                </a:cubicBezTo>
                <a:cubicBezTo>
                  <a:pt x="250" y="201"/>
                  <a:pt x="255" y="193"/>
                  <a:pt x="266" y="193"/>
                </a:cubicBezTo>
                <a:cubicBezTo>
                  <a:pt x="278" y="193"/>
                  <a:pt x="283" y="202"/>
                  <a:pt x="283" y="210"/>
                </a:cubicBezTo>
                <a:cubicBezTo>
                  <a:pt x="283" y="219"/>
                  <a:pt x="277" y="227"/>
                  <a:pt x="266" y="227"/>
                </a:cubicBezTo>
                <a:moveTo>
                  <a:pt x="267" y="189"/>
                </a:moveTo>
                <a:cubicBezTo>
                  <a:pt x="253" y="189"/>
                  <a:pt x="242" y="197"/>
                  <a:pt x="242" y="210"/>
                </a:cubicBezTo>
                <a:cubicBezTo>
                  <a:pt x="242" y="223"/>
                  <a:pt x="252" y="231"/>
                  <a:pt x="266" y="231"/>
                </a:cubicBezTo>
                <a:cubicBezTo>
                  <a:pt x="266" y="231"/>
                  <a:pt x="266" y="231"/>
                  <a:pt x="266" y="231"/>
                </a:cubicBezTo>
                <a:cubicBezTo>
                  <a:pt x="279" y="231"/>
                  <a:pt x="290" y="223"/>
                  <a:pt x="290" y="210"/>
                </a:cubicBezTo>
                <a:cubicBezTo>
                  <a:pt x="290" y="197"/>
                  <a:pt x="281" y="189"/>
                  <a:pt x="267" y="189"/>
                </a:cubicBezTo>
                <a:moveTo>
                  <a:pt x="224" y="207"/>
                </a:moveTo>
                <a:cubicBezTo>
                  <a:pt x="224" y="213"/>
                  <a:pt x="224" y="218"/>
                  <a:pt x="224" y="223"/>
                </a:cubicBezTo>
                <a:cubicBezTo>
                  <a:pt x="224" y="223"/>
                  <a:pt x="224" y="223"/>
                  <a:pt x="224" y="223"/>
                </a:cubicBezTo>
                <a:cubicBezTo>
                  <a:pt x="222" y="219"/>
                  <a:pt x="219" y="215"/>
                  <a:pt x="215" y="210"/>
                </a:cubicBezTo>
                <a:cubicBezTo>
                  <a:pt x="198" y="190"/>
                  <a:pt x="198" y="190"/>
                  <a:pt x="198" y="190"/>
                </a:cubicBezTo>
                <a:cubicBezTo>
                  <a:pt x="191" y="190"/>
                  <a:pt x="191" y="190"/>
                  <a:pt x="191" y="190"/>
                </a:cubicBezTo>
                <a:cubicBezTo>
                  <a:pt x="191" y="230"/>
                  <a:pt x="191" y="230"/>
                  <a:pt x="191" y="230"/>
                </a:cubicBezTo>
                <a:cubicBezTo>
                  <a:pt x="197" y="230"/>
                  <a:pt x="197" y="230"/>
                  <a:pt x="197" y="230"/>
                </a:cubicBezTo>
                <a:cubicBezTo>
                  <a:pt x="197" y="213"/>
                  <a:pt x="197" y="213"/>
                  <a:pt x="197" y="213"/>
                </a:cubicBezTo>
                <a:cubicBezTo>
                  <a:pt x="197" y="206"/>
                  <a:pt x="197" y="201"/>
                  <a:pt x="197" y="196"/>
                </a:cubicBezTo>
                <a:cubicBezTo>
                  <a:pt x="197" y="196"/>
                  <a:pt x="197" y="196"/>
                  <a:pt x="197" y="196"/>
                </a:cubicBezTo>
                <a:cubicBezTo>
                  <a:pt x="199" y="201"/>
                  <a:pt x="203" y="205"/>
                  <a:pt x="206" y="210"/>
                </a:cubicBezTo>
                <a:cubicBezTo>
                  <a:pt x="223" y="230"/>
                  <a:pt x="223" y="230"/>
                  <a:pt x="223" y="230"/>
                </a:cubicBezTo>
                <a:cubicBezTo>
                  <a:pt x="230" y="230"/>
                  <a:pt x="230" y="230"/>
                  <a:pt x="230" y="230"/>
                </a:cubicBezTo>
                <a:cubicBezTo>
                  <a:pt x="230" y="190"/>
                  <a:pt x="230" y="190"/>
                  <a:pt x="230" y="190"/>
                </a:cubicBezTo>
                <a:cubicBezTo>
                  <a:pt x="224" y="190"/>
                  <a:pt x="224" y="190"/>
                  <a:pt x="224" y="190"/>
                </a:cubicBezTo>
                <a:lnTo>
                  <a:pt x="224" y="207"/>
                </a:lnTo>
                <a:close/>
                <a:moveTo>
                  <a:pt x="84" y="143"/>
                </a:moveTo>
                <a:cubicBezTo>
                  <a:pt x="57" y="143"/>
                  <a:pt x="57" y="143"/>
                  <a:pt x="57" y="143"/>
                </a:cubicBezTo>
                <a:cubicBezTo>
                  <a:pt x="57" y="143"/>
                  <a:pt x="57" y="143"/>
                  <a:pt x="57" y="143"/>
                </a:cubicBezTo>
                <a:cubicBezTo>
                  <a:pt x="57" y="143"/>
                  <a:pt x="57" y="143"/>
                  <a:pt x="57" y="143"/>
                </a:cubicBezTo>
                <a:cubicBezTo>
                  <a:pt x="49" y="142"/>
                  <a:pt x="44" y="141"/>
                  <a:pt x="39" y="139"/>
                </a:cubicBezTo>
                <a:cubicBezTo>
                  <a:pt x="34" y="137"/>
                  <a:pt x="31" y="134"/>
                  <a:pt x="31" y="129"/>
                </a:cubicBezTo>
                <a:cubicBezTo>
                  <a:pt x="31" y="125"/>
                  <a:pt x="31" y="118"/>
                  <a:pt x="35" y="113"/>
                </a:cubicBezTo>
                <a:cubicBezTo>
                  <a:pt x="40" y="105"/>
                  <a:pt x="56" y="99"/>
                  <a:pt x="56" y="99"/>
                </a:cubicBezTo>
                <a:cubicBezTo>
                  <a:pt x="65" y="95"/>
                  <a:pt x="76" y="91"/>
                  <a:pt x="89" y="88"/>
                </a:cubicBezTo>
                <a:lnTo>
                  <a:pt x="84" y="143"/>
                </a:lnTo>
                <a:close/>
                <a:moveTo>
                  <a:pt x="105" y="45"/>
                </a:moveTo>
                <a:cubicBezTo>
                  <a:pt x="95" y="41"/>
                  <a:pt x="83" y="39"/>
                  <a:pt x="57" y="39"/>
                </a:cubicBezTo>
                <a:cubicBezTo>
                  <a:pt x="34" y="39"/>
                  <a:pt x="34" y="39"/>
                  <a:pt x="34" y="39"/>
                </a:cubicBezTo>
                <a:cubicBezTo>
                  <a:pt x="34" y="44"/>
                  <a:pt x="36" y="50"/>
                  <a:pt x="42" y="53"/>
                </a:cubicBezTo>
                <a:cubicBezTo>
                  <a:pt x="56" y="53"/>
                  <a:pt x="56" y="53"/>
                  <a:pt x="56" y="53"/>
                </a:cubicBezTo>
                <a:cubicBezTo>
                  <a:pt x="72" y="53"/>
                  <a:pt x="80" y="55"/>
                  <a:pt x="82" y="56"/>
                </a:cubicBezTo>
                <a:cubicBezTo>
                  <a:pt x="88" y="59"/>
                  <a:pt x="91" y="63"/>
                  <a:pt x="90" y="69"/>
                </a:cubicBezTo>
                <a:cubicBezTo>
                  <a:pt x="90" y="73"/>
                  <a:pt x="90" y="73"/>
                  <a:pt x="90" y="73"/>
                </a:cubicBezTo>
                <a:cubicBezTo>
                  <a:pt x="58" y="82"/>
                  <a:pt x="29" y="92"/>
                  <a:pt x="15" y="103"/>
                </a:cubicBezTo>
                <a:cubicBezTo>
                  <a:pt x="6" y="108"/>
                  <a:pt x="2" y="116"/>
                  <a:pt x="1" y="125"/>
                </a:cubicBezTo>
                <a:cubicBezTo>
                  <a:pt x="0" y="136"/>
                  <a:pt x="4" y="145"/>
                  <a:pt x="16" y="151"/>
                </a:cubicBezTo>
                <a:cubicBezTo>
                  <a:pt x="28" y="156"/>
                  <a:pt x="42" y="157"/>
                  <a:pt x="62" y="157"/>
                </a:cubicBezTo>
                <a:cubicBezTo>
                  <a:pt x="79" y="157"/>
                  <a:pt x="79" y="157"/>
                  <a:pt x="79" y="157"/>
                </a:cubicBezTo>
                <a:cubicBezTo>
                  <a:pt x="85" y="157"/>
                  <a:pt x="93" y="156"/>
                  <a:pt x="98" y="154"/>
                </a:cubicBezTo>
                <a:cubicBezTo>
                  <a:pt x="112" y="148"/>
                  <a:pt x="115" y="136"/>
                  <a:pt x="116" y="125"/>
                </a:cubicBezTo>
                <a:cubicBezTo>
                  <a:pt x="121" y="65"/>
                  <a:pt x="121" y="65"/>
                  <a:pt x="121" y="65"/>
                </a:cubicBezTo>
                <a:cubicBezTo>
                  <a:pt x="120" y="56"/>
                  <a:pt x="115" y="49"/>
                  <a:pt x="105" y="45"/>
                </a:cubicBezTo>
                <a:moveTo>
                  <a:pt x="176" y="53"/>
                </a:moveTo>
                <a:cubicBezTo>
                  <a:pt x="178" y="31"/>
                  <a:pt x="178" y="31"/>
                  <a:pt x="178" y="31"/>
                </a:cubicBezTo>
                <a:cubicBezTo>
                  <a:pt x="179" y="24"/>
                  <a:pt x="180" y="20"/>
                  <a:pt x="186" y="18"/>
                </a:cubicBezTo>
                <a:cubicBezTo>
                  <a:pt x="192" y="16"/>
                  <a:pt x="201" y="15"/>
                  <a:pt x="212" y="15"/>
                </a:cubicBezTo>
                <a:cubicBezTo>
                  <a:pt x="238" y="15"/>
                  <a:pt x="238" y="15"/>
                  <a:pt x="238" y="15"/>
                </a:cubicBezTo>
                <a:cubicBezTo>
                  <a:pt x="244" y="12"/>
                  <a:pt x="246" y="6"/>
                  <a:pt x="246" y="0"/>
                </a:cubicBezTo>
                <a:cubicBezTo>
                  <a:pt x="212" y="0"/>
                  <a:pt x="212" y="0"/>
                  <a:pt x="212" y="0"/>
                </a:cubicBezTo>
                <a:cubicBezTo>
                  <a:pt x="192" y="0"/>
                  <a:pt x="180" y="2"/>
                  <a:pt x="168" y="7"/>
                </a:cubicBezTo>
                <a:cubicBezTo>
                  <a:pt x="154" y="12"/>
                  <a:pt x="149" y="21"/>
                  <a:pt x="148" y="32"/>
                </a:cubicBezTo>
                <a:cubicBezTo>
                  <a:pt x="146" y="59"/>
                  <a:pt x="146" y="59"/>
                  <a:pt x="146" y="59"/>
                </a:cubicBezTo>
                <a:cubicBezTo>
                  <a:pt x="141" y="60"/>
                  <a:pt x="136" y="61"/>
                  <a:pt x="132" y="62"/>
                </a:cubicBezTo>
                <a:cubicBezTo>
                  <a:pt x="127" y="67"/>
                  <a:pt x="126" y="73"/>
                  <a:pt x="127" y="79"/>
                </a:cubicBezTo>
                <a:cubicBezTo>
                  <a:pt x="127" y="79"/>
                  <a:pt x="127" y="79"/>
                  <a:pt x="127" y="79"/>
                </a:cubicBezTo>
                <a:cubicBezTo>
                  <a:pt x="132" y="77"/>
                  <a:pt x="139" y="76"/>
                  <a:pt x="144" y="75"/>
                </a:cubicBezTo>
                <a:cubicBezTo>
                  <a:pt x="138" y="156"/>
                  <a:pt x="138" y="156"/>
                  <a:pt x="138" y="156"/>
                </a:cubicBezTo>
                <a:cubicBezTo>
                  <a:pt x="168" y="156"/>
                  <a:pt x="168" y="156"/>
                  <a:pt x="168" y="156"/>
                </a:cubicBezTo>
                <a:cubicBezTo>
                  <a:pt x="175" y="68"/>
                  <a:pt x="175" y="68"/>
                  <a:pt x="175" y="68"/>
                </a:cubicBezTo>
                <a:cubicBezTo>
                  <a:pt x="251" y="53"/>
                  <a:pt x="314" y="49"/>
                  <a:pt x="465" y="49"/>
                </a:cubicBezTo>
                <a:cubicBezTo>
                  <a:pt x="469" y="46"/>
                  <a:pt x="470" y="43"/>
                  <a:pt x="471" y="39"/>
                </a:cubicBezTo>
                <a:cubicBezTo>
                  <a:pt x="345" y="39"/>
                  <a:pt x="248" y="40"/>
                  <a:pt x="176" y="53"/>
                </a:cubicBezTo>
                <a:moveTo>
                  <a:pt x="435" y="95"/>
                </a:moveTo>
                <a:cubicBezTo>
                  <a:pt x="433" y="127"/>
                  <a:pt x="433" y="127"/>
                  <a:pt x="433" y="127"/>
                </a:cubicBezTo>
                <a:cubicBezTo>
                  <a:pt x="432" y="133"/>
                  <a:pt x="429" y="137"/>
                  <a:pt x="423" y="139"/>
                </a:cubicBezTo>
                <a:cubicBezTo>
                  <a:pt x="417" y="142"/>
                  <a:pt x="409" y="143"/>
                  <a:pt x="399" y="143"/>
                </a:cubicBezTo>
                <a:cubicBezTo>
                  <a:pt x="390" y="143"/>
                  <a:pt x="382" y="142"/>
                  <a:pt x="377" y="139"/>
                </a:cubicBezTo>
                <a:cubicBezTo>
                  <a:pt x="371" y="137"/>
                  <a:pt x="368" y="133"/>
                  <a:pt x="369" y="127"/>
                </a:cubicBezTo>
                <a:cubicBezTo>
                  <a:pt x="372" y="95"/>
                  <a:pt x="372" y="95"/>
                  <a:pt x="372" y="95"/>
                </a:cubicBezTo>
                <a:cubicBezTo>
                  <a:pt x="372" y="89"/>
                  <a:pt x="376" y="85"/>
                  <a:pt x="382" y="83"/>
                </a:cubicBezTo>
                <a:cubicBezTo>
                  <a:pt x="387" y="81"/>
                  <a:pt x="395" y="79"/>
                  <a:pt x="405" y="79"/>
                </a:cubicBezTo>
                <a:cubicBezTo>
                  <a:pt x="415" y="79"/>
                  <a:pt x="422" y="81"/>
                  <a:pt x="427" y="83"/>
                </a:cubicBezTo>
                <a:cubicBezTo>
                  <a:pt x="433" y="85"/>
                  <a:pt x="436" y="89"/>
                  <a:pt x="435" y="95"/>
                </a:cubicBezTo>
                <a:moveTo>
                  <a:pt x="450" y="71"/>
                </a:moveTo>
                <a:cubicBezTo>
                  <a:pt x="439" y="66"/>
                  <a:pt x="426" y="65"/>
                  <a:pt x="408" y="65"/>
                </a:cubicBezTo>
                <a:cubicBezTo>
                  <a:pt x="404" y="65"/>
                  <a:pt x="404" y="65"/>
                  <a:pt x="404" y="65"/>
                </a:cubicBezTo>
                <a:cubicBezTo>
                  <a:pt x="386" y="65"/>
                  <a:pt x="373" y="66"/>
                  <a:pt x="361" y="71"/>
                </a:cubicBezTo>
                <a:cubicBezTo>
                  <a:pt x="348" y="77"/>
                  <a:pt x="342" y="86"/>
                  <a:pt x="341" y="97"/>
                </a:cubicBezTo>
                <a:cubicBezTo>
                  <a:pt x="339" y="125"/>
                  <a:pt x="339" y="125"/>
                  <a:pt x="339" y="125"/>
                </a:cubicBezTo>
                <a:cubicBezTo>
                  <a:pt x="338" y="136"/>
                  <a:pt x="342" y="145"/>
                  <a:pt x="354" y="151"/>
                </a:cubicBezTo>
                <a:cubicBezTo>
                  <a:pt x="365" y="156"/>
                  <a:pt x="378" y="157"/>
                  <a:pt x="396" y="157"/>
                </a:cubicBezTo>
                <a:cubicBezTo>
                  <a:pt x="400" y="157"/>
                  <a:pt x="400" y="157"/>
                  <a:pt x="400" y="157"/>
                </a:cubicBezTo>
                <a:cubicBezTo>
                  <a:pt x="418" y="157"/>
                  <a:pt x="432" y="156"/>
                  <a:pt x="443" y="151"/>
                </a:cubicBezTo>
                <a:cubicBezTo>
                  <a:pt x="457" y="145"/>
                  <a:pt x="462" y="136"/>
                  <a:pt x="463" y="125"/>
                </a:cubicBezTo>
                <a:cubicBezTo>
                  <a:pt x="465" y="97"/>
                  <a:pt x="465" y="97"/>
                  <a:pt x="465" y="97"/>
                </a:cubicBezTo>
                <a:cubicBezTo>
                  <a:pt x="466" y="86"/>
                  <a:pt x="463" y="77"/>
                  <a:pt x="450" y="71"/>
                </a:cubicBezTo>
                <a:moveTo>
                  <a:pt x="556" y="39"/>
                </a:moveTo>
                <a:cubicBezTo>
                  <a:pt x="536" y="39"/>
                  <a:pt x="522" y="40"/>
                  <a:pt x="509" y="45"/>
                </a:cubicBezTo>
                <a:cubicBezTo>
                  <a:pt x="496" y="50"/>
                  <a:pt x="491" y="60"/>
                  <a:pt x="490" y="70"/>
                </a:cubicBezTo>
                <a:cubicBezTo>
                  <a:pt x="482" y="156"/>
                  <a:pt x="482" y="156"/>
                  <a:pt x="482" y="156"/>
                </a:cubicBezTo>
                <a:cubicBezTo>
                  <a:pt x="512" y="156"/>
                  <a:pt x="512" y="156"/>
                  <a:pt x="512" y="156"/>
                </a:cubicBezTo>
                <a:cubicBezTo>
                  <a:pt x="520" y="69"/>
                  <a:pt x="520" y="69"/>
                  <a:pt x="520" y="69"/>
                </a:cubicBezTo>
                <a:cubicBezTo>
                  <a:pt x="520" y="63"/>
                  <a:pt x="524" y="59"/>
                  <a:pt x="530" y="56"/>
                </a:cubicBezTo>
                <a:cubicBezTo>
                  <a:pt x="536" y="54"/>
                  <a:pt x="545" y="53"/>
                  <a:pt x="557" y="53"/>
                </a:cubicBezTo>
                <a:cubicBezTo>
                  <a:pt x="563" y="53"/>
                  <a:pt x="563" y="53"/>
                  <a:pt x="563" y="53"/>
                </a:cubicBezTo>
                <a:cubicBezTo>
                  <a:pt x="569" y="50"/>
                  <a:pt x="571" y="44"/>
                  <a:pt x="571" y="39"/>
                </a:cubicBezTo>
                <a:cubicBezTo>
                  <a:pt x="556" y="39"/>
                  <a:pt x="556" y="39"/>
                  <a:pt x="556" y="39"/>
                </a:cubicBezTo>
                <a:close/>
                <a:moveTo>
                  <a:pt x="281" y="91"/>
                </a:moveTo>
                <a:cubicBezTo>
                  <a:pt x="287" y="93"/>
                  <a:pt x="289" y="97"/>
                  <a:pt x="289" y="103"/>
                </a:cubicBezTo>
                <a:cubicBezTo>
                  <a:pt x="285" y="156"/>
                  <a:pt x="285" y="156"/>
                  <a:pt x="285" y="156"/>
                </a:cubicBezTo>
                <a:cubicBezTo>
                  <a:pt x="315" y="156"/>
                  <a:pt x="315" y="156"/>
                  <a:pt x="315" y="156"/>
                </a:cubicBezTo>
                <a:cubicBezTo>
                  <a:pt x="319" y="105"/>
                  <a:pt x="319" y="105"/>
                  <a:pt x="319" y="105"/>
                </a:cubicBezTo>
                <a:cubicBezTo>
                  <a:pt x="320" y="94"/>
                  <a:pt x="316" y="85"/>
                  <a:pt x="304" y="79"/>
                </a:cubicBezTo>
                <a:cubicBezTo>
                  <a:pt x="293" y="74"/>
                  <a:pt x="280" y="73"/>
                  <a:pt x="261" y="73"/>
                </a:cubicBezTo>
                <a:cubicBezTo>
                  <a:pt x="258" y="73"/>
                  <a:pt x="258" y="73"/>
                  <a:pt x="258" y="73"/>
                </a:cubicBezTo>
                <a:cubicBezTo>
                  <a:pt x="240" y="73"/>
                  <a:pt x="226" y="74"/>
                  <a:pt x="215" y="79"/>
                </a:cubicBezTo>
                <a:cubicBezTo>
                  <a:pt x="201" y="85"/>
                  <a:pt x="196" y="94"/>
                  <a:pt x="195" y="105"/>
                </a:cubicBezTo>
                <a:cubicBezTo>
                  <a:pt x="191" y="156"/>
                  <a:pt x="191" y="156"/>
                  <a:pt x="191" y="156"/>
                </a:cubicBezTo>
                <a:cubicBezTo>
                  <a:pt x="221" y="156"/>
                  <a:pt x="221" y="156"/>
                  <a:pt x="221" y="156"/>
                </a:cubicBezTo>
                <a:cubicBezTo>
                  <a:pt x="225" y="103"/>
                  <a:pt x="225" y="103"/>
                  <a:pt x="225" y="103"/>
                </a:cubicBezTo>
                <a:cubicBezTo>
                  <a:pt x="226" y="97"/>
                  <a:pt x="229" y="93"/>
                  <a:pt x="235" y="91"/>
                </a:cubicBezTo>
                <a:cubicBezTo>
                  <a:pt x="241" y="89"/>
                  <a:pt x="249" y="87"/>
                  <a:pt x="258" y="87"/>
                </a:cubicBezTo>
                <a:cubicBezTo>
                  <a:pt x="268" y="87"/>
                  <a:pt x="276" y="89"/>
                  <a:pt x="281" y="91"/>
                </a:cubicBezTo>
              </a:path>
            </a:pathLst>
          </a:custGeom>
          <a:solidFill>
            <a:srgbClr val="000003"/>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53" name="Google Shape;53;p11"/>
          <p:cNvSpPr txBox="1"/>
          <p:nvPr/>
        </p:nvSpPr>
        <p:spPr>
          <a:xfrm>
            <a:off x="3717422" y="3298676"/>
            <a:ext cx="2024913" cy="121571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3200"/>
              <a:buFont typeface="Arial"/>
              <a:buNone/>
            </a:pPr>
            <a:r>
              <a:rPr lang="en-US" sz="3200" b="1" i="0" u="none" strike="noStrike" cap="none">
                <a:solidFill>
                  <a:schemeClr val="dk1"/>
                </a:solidFill>
                <a:latin typeface="Arial"/>
                <a:ea typeface="Arial"/>
                <a:cs typeface="Arial"/>
                <a:sym typeface="Arial"/>
              </a:rPr>
              <a:t>MERCI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900"/>
              <a:buFont typeface="Arial"/>
              <a:buNone/>
            </a:pPr>
            <a:r>
              <a:rPr lang="en-US" sz="900" b="0" i="0" u="none" strike="noStrike" cap="none">
                <a:solidFill>
                  <a:schemeClr val="dk1"/>
                </a:solidFill>
                <a:latin typeface="Arial"/>
                <a:ea typeface="Arial"/>
                <a:cs typeface="Arial"/>
                <a:sym typeface="Arial"/>
              </a:rPr>
              <a:t>11 rue Francis de Pressensé</a:t>
            </a:r>
            <a:endParaRPr sz="9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chemeClr val="dk1"/>
                </a:solidFill>
                <a:latin typeface="Arial"/>
                <a:ea typeface="Arial"/>
                <a:cs typeface="Arial"/>
                <a:sym typeface="Arial"/>
              </a:rPr>
              <a:t>93 571 La Plaine Saint-Denis Cedex</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chemeClr val="dk1"/>
                </a:solidFill>
                <a:latin typeface="Arial"/>
                <a:ea typeface="Arial"/>
                <a:cs typeface="Arial"/>
                <a:sym typeface="Arial"/>
              </a:rPr>
              <a:t>Tél. 01 41 62 80 00</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r>
              <a:rPr lang="en-US" sz="900" b="0" i="0" u="none" strike="noStrike" cap="none">
                <a:solidFill>
                  <a:schemeClr val="dk1"/>
                </a:solidFill>
                <a:latin typeface="Arial"/>
                <a:ea typeface="Arial"/>
                <a:cs typeface="Arial"/>
                <a:sym typeface="Arial"/>
              </a:rPr>
              <a:t>Fax. 01 49 17 90 00</a:t>
            </a:r>
            <a:endParaRPr sz="1200" b="0" i="0" u="none" strike="noStrike" cap="none">
              <a:solidFill>
                <a:schemeClr val="dk1"/>
              </a:solidFill>
              <a:latin typeface="Arial"/>
              <a:ea typeface="Arial"/>
              <a:cs typeface="Arial"/>
              <a:sym typeface="Arial"/>
            </a:endParaRP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ge de gar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7" name="Object 1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Picture Placeholder 27"/>
          <p:cNvSpPr>
            <a:spLocks noGrp="1"/>
          </p:cNvSpPr>
          <p:nvPr>
            <p:ph type="pic" sz="quarter" idx="16"/>
          </p:nvPr>
        </p:nvSpPr>
        <p:spPr>
          <a:xfrm>
            <a:off x="3175" y="0"/>
            <a:ext cx="4993556" cy="5477347"/>
          </a:xfrm>
        </p:spPr>
        <p:txBody>
          <a:bodyPr anchor="ctr"/>
          <a:lstStyle>
            <a:lvl1pPr algn="ctr">
              <a:defRPr/>
            </a:lvl1pPr>
          </a:lstStyle>
          <a:p>
            <a:r>
              <a:rPr lang="fr-FR"/>
              <a:t>Cliquez sur l'icône pour ajouter une image</a:t>
            </a:r>
          </a:p>
        </p:txBody>
      </p:sp>
      <p:sp>
        <p:nvSpPr>
          <p:cNvPr id="7" name="Rectangle 7"/>
          <p:cNvSpPr>
            <a:spLocks noChangeArrowheads="1"/>
          </p:cNvSpPr>
          <p:nvPr userDrawn="1"/>
        </p:nvSpPr>
        <p:spPr bwMode="auto">
          <a:xfrm>
            <a:off x="4996730" y="-1"/>
            <a:ext cx="4147270" cy="5477348"/>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8" name="Line 10"/>
          <p:cNvSpPr>
            <a:spLocks noChangeShapeType="1"/>
          </p:cNvSpPr>
          <p:nvPr userDrawn="1"/>
        </p:nvSpPr>
        <p:spPr bwMode="auto">
          <a:xfrm>
            <a:off x="2181747" y="5708499"/>
            <a:ext cx="1756" cy="851217"/>
          </a:xfrm>
          <a:prstGeom prst="line">
            <a:avLst/>
          </a:prstGeom>
          <a:noFill/>
          <a:ln w="3175" cap="flat">
            <a:solidFill>
              <a:srgbClr val="000003"/>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12" name="Freeform 53"/>
          <p:cNvSpPr>
            <a:spLocks/>
          </p:cNvSpPr>
          <p:nvPr userDrawn="1"/>
        </p:nvSpPr>
        <p:spPr bwMode="auto">
          <a:xfrm>
            <a:off x="5258834" y="2163870"/>
            <a:ext cx="537056" cy="535302"/>
          </a:xfrm>
          <a:custGeom>
            <a:avLst/>
            <a:gdLst/>
            <a:ahLst/>
            <a:cxnLst>
              <a:cxn ang="0">
                <a:pos x="306" y="0"/>
              </a:cxn>
              <a:cxn ang="0">
                <a:pos x="0" y="0"/>
              </a:cxn>
              <a:cxn ang="0">
                <a:pos x="0" y="305"/>
              </a:cxn>
              <a:cxn ang="0">
                <a:pos x="48" y="259"/>
              </a:cxn>
              <a:cxn ang="0">
                <a:pos x="48" y="47"/>
              </a:cxn>
              <a:cxn ang="0">
                <a:pos x="260" y="47"/>
              </a:cxn>
              <a:cxn ang="0">
                <a:pos x="306" y="0"/>
              </a:cxn>
            </a:cxnLst>
            <a:rect l="0" t="0" r="r" b="b"/>
            <a:pathLst>
              <a:path w="306" h="305">
                <a:moveTo>
                  <a:pt x="306" y="0"/>
                </a:moveTo>
                <a:lnTo>
                  <a:pt x="0" y="0"/>
                </a:lnTo>
                <a:lnTo>
                  <a:pt x="0" y="305"/>
                </a:lnTo>
                <a:lnTo>
                  <a:pt x="48" y="259"/>
                </a:lnTo>
                <a:lnTo>
                  <a:pt x="48" y="47"/>
                </a:lnTo>
                <a:lnTo>
                  <a:pt x="260" y="47"/>
                </a:lnTo>
                <a:lnTo>
                  <a:pt x="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 name="Title 1"/>
          <p:cNvSpPr>
            <a:spLocks noGrp="1"/>
          </p:cNvSpPr>
          <p:nvPr>
            <p:ph type="ctrTitle" hasCustomPrompt="1"/>
          </p:nvPr>
        </p:nvSpPr>
        <p:spPr>
          <a:xfrm>
            <a:off x="5423318" y="2311297"/>
            <a:ext cx="3507037" cy="243896"/>
          </a:xfrm>
          <a:prstGeom prst="rect">
            <a:avLst/>
          </a:prstGeom>
        </p:spPr>
        <p:txBody>
          <a:bodyPr/>
          <a:lstStyle>
            <a:lvl1pPr>
              <a:defRPr sz="1600"/>
            </a:lvl1pPr>
          </a:lstStyle>
          <a:p>
            <a:r>
              <a:rPr kumimoji="0" lang="fr-FR" sz="1600" b="1" i="0" u="none" strike="noStrike" kern="1200" cap="all" spc="0" normalizeH="0" baseline="0" noProof="0" dirty="0">
                <a:ln>
                  <a:noFill/>
                </a:ln>
                <a:solidFill>
                  <a:schemeClr val="tx1"/>
                </a:solidFill>
                <a:effectLst/>
                <a:uLnTx/>
                <a:uFillTx/>
                <a:latin typeface="+mj-lt"/>
                <a:ea typeface="+mj-ea"/>
                <a:cs typeface="+mj-cs"/>
              </a:rPr>
              <a:t>Titre de la présentation</a:t>
            </a:r>
            <a:endParaRPr lang="fr-FR" dirty="0"/>
          </a:p>
        </p:txBody>
      </p:sp>
      <p:sp>
        <p:nvSpPr>
          <p:cNvPr id="3" name="Subtitle 2"/>
          <p:cNvSpPr>
            <a:spLocks noGrp="1"/>
          </p:cNvSpPr>
          <p:nvPr>
            <p:ph type="subTitle" idx="1" hasCustomPrompt="1"/>
          </p:nvPr>
        </p:nvSpPr>
        <p:spPr>
          <a:xfrm>
            <a:off x="1445535" y="3487029"/>
            <a:ext cx="3006207" cy="775596"/>
          </a:xfrm>
        </p:spPr>
        <p:txBody>
          <a:bodyPr anchor="b"/>
          <a:lstStyle>
            <a:lvl1pPr marL="0" indent="0" algn="l">
              <a:lnSpc>
                <a:spcPct val="90000"/>
              </a:lnSpc>
              <a:spcAft>
                <a:spcPts val="0"/>
              </a:spcAft>
              <a:buNone/>
              <a:defRPr sz="2800" cap="all"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text</a:t>
            </a:r>
            <a:endParaRPr lang="fr-FR" dirty="0"/>
          </a:p>
        </p:txBody>
      </p:sp>
      <p:sp>
        <p:nvSpPr>
          <p:cNvPr id="19" name="Text Placeholder 18"/>
          <p:cNvSpPr>
            <a:spLocks noGrp="1"/>
          </p:cNvSpPr>
          <p:nvPr>
            <p:ph type="body" sz="quarter" idx="10" hasCustomPrompt="1"/>
          </p:nvPr>
        </p:nvSpPr>
        <p:spPr>
          <a:xfrm>
            <a:off x="2057922" y="4257675"/>
            <a:ext cx="2393820" cy="742950"/>
          </a:xfrm>
        </p:spPr>
        <p:txBody>
          <a:bodyPr/>
          <a:lstStyle>
            <a:lvl1pPr algn="l">
              <a:lnSpc>
                <a:spcPct val="90000"/>
              </a:lnSpc>
              <a:spcAft>
                <a:spcPts val="0"/>
              </a:spcAft>
              <a:defRPr sz="1800" b="0" cap="all" baseline="0">
                <a:solidFill>
                  <a:srgbClr val="FFFFFF"/>
                </a:solidFill>
              </a:defRPr>
            </a:lvl1pPr>
          </a:lstStyle>
          <a:p>
            <a:pPr lvl="0"/>
            <a:r>
              <a:rPr lang="en-US" dirty="0"/>
              <a:t>Click to edit text</a:t>
            </a:r>
            <a:endParaRPr lang="fr-FR" dirty="0"/>
          </a:p>
        </p:txBody>
      </p:sp>
      <p:sp>
        <p:nvSpPr>
          <p:cNvPr id="21" name="Text Placeholder 20"/>
          <p:cNvSpPr>
            <a:spLocks noGrp="1"/>
          </p:cNvSpPr>
          <p:nvPr>
            <p:ph type="body" sz="quarter" idx="11" hasCustomPrompt="1"/>
          </p:nvPr>
        </p:nvSpPr>
        <p:spPr>
          <a:xfrm>
            <a:off x="533400" y="5708499"/>
            <a:ext cx="1462483" cy="152551"/>
          </a:xfrm>
        </p:spPr>
        <p:txBody>
          <a:bodyPr anchor="b"/>
          <a:lstStyle>
            <a:lvl1pPr algn="r">
              <a:spcAft>
                <a:spcPts val="0"/>
              </a:spcAft>
              <a:defRPr sz="800"/>
            </a:lvl1pPr>
          </a:lstStyle>
          <a:p>
            <a:pPr lvl="0"/>
            <a:r>
              <a:rPr lang="en-US" dirty="0"/>
              <a:t>Click to edit text</a:t>
            </a:r>
            <a:endParaRPr lang="fr-FR" dirty="0"/>
          </a:p>
        </p:txBody>
      </p:sp>
      <p:sp>
        <p:nvSpPr>
          <p:cNvPr id="23" name="Text Placeholder 22"/>
          <p:cNvSpPr>
            <a:spLocks noGrp="1"/>
          </p:cNvSpPr>
          <p:nvPr>
            <p:ph type="body" sz="quarter" idx="12" hasCustomPrompt="1"/>
          </p:nvPr>
        </p:nvSpPr>
        <p:spPr>
          <a:xfrm>
            <a:off x="2369366" y="5708499"/>
            <a:ext cx="1612083" cy="152551"/>
          </a:xfrm>
        </p:spPr>
        <p:txBody>
          <a:bodyPr anchor="b"/>
          <a:lstStyle>
            <a:lvl1pPr algn="l">
              <a:spcAft>
                <a:spcPts val="0"/>
              </a:spcAft>
              <a:defRPr sz="800"/>
            </a:lvl1pPr>
          </a:lstStyle>
          <a:p>
            <a:pPr lvl="0"/>
            <a:r>
              <a:rPr lang="en-US" dirty="0"/>
              <a:t>Click to edit text</a:t>
            </a:r>
            <a:endParaRPr lang="fr-FR" dirty="0"/>
          </a:p>
        </p:txBody>
      </p:sp>
      <p:sp>
        <p:nvSpPr>
          <p:cNvPr id="14" name="Text Placeholder 20"/>
          <p:cNvSpPr>
            <a:spLocks noGrp="1"/>
          </p:cNvSpPr>
          <p:nvPr>
            <p:ph type="body" sz="quarter" idx="13" hasCustomPrompt="1"/>
          </p:nvPr>
        </p:nvSpPr>
        <p:spPr>
          <a:xfrm>
            <a:off x="533400" y="5878142"/>
            <a:ext cx="1462483" cy="349250"/>
          </a:xfrm>
        </p:spPr>
        <p:txBody>
          <a:bodyPr anchor="t"/>
          <a:lstStyle>
            <a:lvl1pPr algn="r">
              <a:spcAft>
                <a:spcPts val="0"/>
              </a:spcAft>
              <a:defRPr sz="800" b="0"/>
            </a:lvl1pPr>
          </a:lstStyle>
          <a:p>
            <a:pPr lvl="0"/>
            <a:r>
              <a:rPr lang="en-US" dirty="0"/>
              <a:t>Click to edit text</a:t>
            </a:r>
            <a:endParaRPr lang="fr-FR" dirty="0"/>
          </a:p>
        </p:txBody>
      </p:sp>
      <p:sp>
        <p:nvSpPr>
          <p:cNvPr id="18" name="Text Placeholder 22"/>
          <p:cNvSpPr>
            <a:spLocks noGrp="1"/>
          </p:cNvSpPr>
          <p:nvPr>
            <p:ph type="body" sz="quarter" idx="14" hasCustomPrompt="1"/>
          </p:nvPr>
        </p:nvSpPr>
        <p:spPr>
          <a:xfrm>
            <a:off x="2369366" y="5878142"/>
            <a:ext cx="1612083" cy="349250"/>
          </a:xfrm>
        </p:spPr>
        <p:txBody>
          <a:bodyPr anchor="t"/>
          <a:lstStyle>
            <a:lvl1pPr algn="l">
              <a:spcAft>
                <a:spcPts val="0"/>
              </a:spcAft>
              <a:defRPr sz="800" b="0"/>
            </a:lvl1pPr>
          </a:lstStyle>
          <a:p>
            <a:pPr lvl="0"/>
            <a:r>
              <a:rPr lang="en-US" dirty="0"/>
              <a:t>Click to edit text</a:t>
            </a:r>
            <a:endParaRPr lang="fr-FR" dirty="0"/>
          </a:p>
        </p:txBody>
      </p:sp>
      <p:sp>
        <p:nvSpPr>
          <p:cNvPr id="25" name="Text Placeholder 24"/>
          <p:cNvSpPr>
            <a:spLocks noGrp="1"/>
          </p:cNvSpPr>
          <p:nvPr>
            <p:ph type="body" sz="quarter" idx="15"/>
          </p:nvPr>
        </p:nvSpPr>
        <p:spPr>
          <a:xfrm>
            <a:off x="5423318" y="2555193"/>
            <a:ext cx="3507037" cy="1506537"/>
          </a:xfrm>
        </p:spPr>
        <p:txBody>
          <a:bodyPr/>
          <a:lstStyle>
            <a:lvl1pPr algn="l">
              <a:defRPr b="0" cap="all" baseline="0"/>
            </a:lvl1pPr>
          </a:lstStyle>
          <a:p>
            <a:pPr lvl="0"/>
            <a:r>
              <a:rPr lang="fr-FR"/>
              <a:t>Modifiez les styles du texte du masque</a:t>
            </a:r>
          </a:p>
        </p:txBody>
      </p:sp>
      <p:pic>
        <p:nvPicPr>
          <p:cNvPr id="4" name="Image 3">
            <a:extLst>
              <a:ext uri="{FF2B5EF4-FFF2-40B4-BE49-F238E27FC236}">
                <a16:creationId xmlns:a16="http://schemas.microsoft.com/office/drawing/2014/main" id="{BA1EF55C-7FAB-9183-1075-78968572215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05353" y="5752131"/>
            <a:ext cx="807585" cy="807585"/>
          </a:xfrm>
          <a:prstGeom prst="rect">
            <a:avLst/>
          </a:prstGeom>
        </p:spPr>
      </p:pic>
    </p:spTree>
    <p:extLst>
      <p:ext uri="{BB962C8B-B14F-4D97-AF65-F5344CB8AC3E}">
        <p14:creationId xmlns:p14="http://schemas.microsoft.com/office/powerpoint/2010/main" val="778922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a:spLocks noChangeArrowheads="1"/>
          </p:cNvSpPr>
          <p:nvPr userDrawn="1"/>
        </p:nvSpPr>
        <p:spPr bwMode="auto">
          <a:xfrm>
            <a:off x="0" y="0"/>
            <a:ext cx="9140782" cy="6858000"/>
          </a:xfrm>
          <a:prstGeom prst="rect">
            <a:avLst/>
          </a:prstGeom>
          <a:solidFill>
            <a:schemeClr val="accent1"/>
          </a:solidFill>
          <a:ln w="9525">
            <a:noFill/>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8" name="Freeform 70"/>
          <p:cNvSpPr>
            <a:spLocks/>
          </p:cNvSpPr>
          <p:nvPr userDrawn="1"/>
        </p:nvSpPr>
        <p:spPr bwMode="auto">
          <a:xfrm>
            <a:off x="2755419" y="2432649"/>
            <a:ext cx="752357" cy="754115"/>
          </a:xfrm>
          <a:custGeom>
            <a:avLst/>
            <a:gdLst/>
            <a:ahLst/>
            <a:cxnLst>
              <a:cxn ang="0">
                <a:pos x="428" y="0"/>
              </a:cxn>
              <a:cxn ang="0">
                <a:pos x="0" y="0"/>
              </a:cxn>
              <a:cxn ang="0">
                <a:pos x="0" y="429"/>
              </a:cxn>
              <a:cxn ang="0">
                <a:pos x="65" y="363"/>
              </a:cxn>
              <a:cxn ang="0">
                <a:pos x="65" y="66"/>
              </a:cxn>
              <a:cxn ang="0">
                <a:pos x="363" y="66"/>
              </a:cxn>
              <a:cxn ang="0">
                <a:pos x="428" y="0"/>
              </a:cxn>
            </a:cxnLst>
            <a:rect l="0" t="0" r="r" b="b"/>
            <a:pathLst>
              <a:path w="428" h="429">
                <a:moveTo>
                  <a:pt x="428" y="0"/>
                </a:moveTo>
                <a:lnTo>
                  <a:pt x="0" y="0"/>
                </a:lnTo>
                <a:lnTo>
                  <a:pt x="0" y="429"/>
                </a:lnTo>
                <a:lnTo>
                  <a:pt x="65" y="363"/>
                </a:lnTo>
                <a:lnTo>
                  <a:pt x="65" y="66"/>
                </a:lnTo>
                <a:lnTo>
                  <a:pt x="363" y="66"/>
                </a:lnTo>
                <a:lnTo>
                  <a:pt x="42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2" name="Title 1"/>
          <p:cNvSpPr>
            <a:spLocks noGrp="1"/>
          </p:cNvSpPr>
          <p:nvPr>
            <p:ph type="title" hasCustomPrompt="1"/>
          </p:nvPr>
        </p:nvSpPr>
        <p:spPr>
          <a:xfrm>
            <a:off x="3081465" y="2757850"/>
            <a:ext cx="3609130" cy="865567"/>
          </a:xfrm>
          <a:prstGeom prst="rect">
            <a:avLst/>
          </a:prstGeom>
        </p:spPr>
        <p:txBody>
          <a:bodyPr anchor="t"/>
          <a:lstStyle>
            <a:lvl1pPr algn="l">
              <a:lnSpc>
                <a:spcPct val="90000"/>
              </a:lnSpc>
              <a:defRPr sz="3200" b="1" cap="all"/>
            </a:lvl1pPr>
          </a:lstStyle>
          <a:p>
            <a:r>
              <a:rPr lang="en-US" dirty="0"/>
              <a:t>Click to edit title style</a:t>
            </a:r>
            <a:endParaRPr lang="fr-FR" dirty="0"/>
          </a:p>
        </p:txBody>
      </p:sp>
      <p:sp>
        <p:nvSpPr>
          <p:cNvPr id="13" name="Text Placeholder 12"/>
          <p:cNvSpPr>
            <a:spLocks noGrp="1"/>
          </p:cNvSpPr>
          <p:nvPr>
            <p:ph type="body" sz="quarter" idx="10" hasCustomPrompt="1"/>
          </p:nvPr>
        </p:nvSpPr>
        <p:spPr>
          <a:xfrm>
            <a:off x="3081465" y="3615480"/>
            <a:ext cx="3609130" cy="865567"/>
          </a:xfrm>
        </p:spPr>
        <p:txBody>
          <a:bodyPr/>
          <a:lstStyle>
            <a:lvl1pPr>
              <a:defRPr sz="3200" cap="all" baseline="0">
                <a:solidFill>
                  <a:srgbClr val="FFFFFF"/>
                </a:solidFill>
              </a:defRPr>
            </a:lvl1pPr>
          </a:lstStyle>
          <a:p>
            <a:pPr lvl="0"/>
            <a:r>
              <a:rPr lang="en-US" dirty="0"/>
              <a:t>subtitle</a:t>
            </a:r>
            <a:endParaRPr lang="fr-FR" dirty="0"/>
          </a:p>
        </p:txBody>
      </p:sp>
      <p:pic>
        <p:nvPicPr>
          <p:cNvPr id="3" name="Image 2">
            <a:extLst>
              <a:ext uri="{FF2B5EF4-FFF2-40B4-BE49-F238E27FC236}">
                <a16:creationId xmlns:a16="http://schemas.microsoft.com/office/drawing/2014/main" id="{204E2A15-13E1-04C7-6A1E-F15D20057AD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05353" y="5752131"/>
            <a:ext cx="807585" cy="807585"/>
          </a:xfrm>
          <a:prstGeom prst="rect">
            <a:avLst/>
          </a:prstGeom>
        </p:spPr>
      </p:pic>
    </p:spTree>
    <p:extLst>
      <p:ext uri="{BB962C8B-B14F-4D97-AF65-F5344CB8AC3E}">
        <p14:creationId xmlns:p14="http://schemas.microsoft.com/office/powerpoint/2010/main" val="8638173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sp>
        <p:nvSpPr>
          <p:cNvPr id="10" name="Text Placeholder 9"/>
          <p:cNvSpPr>
            <a:spLocks noGrp="1"/>
          </p:cNvSpPr>
          <p:nvPr>
            <p:ph type="body" sz="quarter" idx="11"/>
          </p:nvPr>
        </p:nvSpPr>
        <p:spPr>
          <a:xfrm>
            <a:off x="641350" y="1802675"/>
            <a:ext cx="7861300" cy="4171405"/>
          </a:xfrm>
        </p:spPr>
        <p:txBody>
          <a:bodyPr/>
          <a:lstStyle/>
          <a:p>
            <a:pPr lvl="0"/>
            <a:r>
              <a:rPr lang="fr-FR"/>
              <a:t>Modifiez les styles du texte du masque</a:t>
            </a:r>
          </a:p>
          <a:p>
            <a:pPr lvl="1"/>
            <a:r>
              <a:rPr lang="fr-FR"/>
              <a:t>Deuxième niveau</a:t>
            </a:r>
          </a:p>
          <a:p>
            <a:pPr lvl="2"/>
            <a:r>
              <a:rPr lang="fr-FR"/>
              <a:t>Troisième niveau</a:t>
            </a:r>
          </a:p>
        </p:txBody>
      </p:sp>
      <p:sp>
        <p:nvSpPr>
          <p:cNvPr id="11" name="Title 10"/>
          <p:cNvSpPr>
            <a:spLocks noGrp="1"/>
          </p:cNvSpPr>
          <p:nvPr>
            <p:ph type="title"/>
          </p:nvPr>
        </p:nvSpPr>
        <p:spPr/>
        <p:txBody>
          <a:bodyPr/>
          <a:lstStyle/>
          <a:p>
            <a:r>
              <a:rPr lang="fr-FR"/>
              <a:t>Modifiez le style du titre</a:t>
            </a:r>
          </a:p>
        </p:txBody>
      </p:sp>
      <p:sp>
        <p:nvSpPr>
          <p:cNvPr id="4" name="Espace réservé du pied de page 4"/>
          <p:cNvSpPr>
            <a:spLocks noGrp="1"/>
          </p:cNvSpPr>
          <p:nvPr>
            <p:ph type="ftr" sz="quarter" idx="3"/>
          </p:nvPr>
        </p:nvSpPr>
        <p:spPr>
          <a:xfrm>
            <a:off x="641350" y="6506642"/>
            <a:ext cx="958596" cy="123111"/>
          </a:xfrm>
          <a:prstGeom prst="rect">
            <a:avLst/>
          </a:prstGeom>
        </p:spPr>
        <p:txBody>
          <a:bodyPr wrap="none" lIns="0" tIns="0" rIns="0" bIns="0" anchor="ctr">
            <a:spAutoFit/>
          </a:bodyPr>
          <a:lstStyle>
            <a:lvl1pPr>
              <a:defRPr sz="800"/>
            </a:lvl1pPr>
          </a:lstStyle>
          <a:p>
            <a:r>
              <a:rPr lang="en-US" noProof="0"/>
              <a:t>ISO/TC 188/ SC1 CEN plenary  28 Nov- 2 Dec 2022</a:t>
            </a:r>
            <a:endParaRPr lang="fr-FR" noProof="0"/>
          </a:p>
        </p:txBody>
      </p:sp>
    </p:spTree>
    <p:extLst>
      <p:ext uri="{BB962C8B-B14F-4D97-AF65-F5344CB8AC3E}">
        <p14:creationId xmlns:p14="http://schemas.microsoft.com/office/powerpoint/2010/main" val="277514019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6" name="Title 4"/>
          <p:cNvSpPr>
            <a:spLocks noGrp="1"/>
          </p:cNvSpPr>
          <p:nvPr>
            <p:ph type="title"/>
          </p:nvPr>
        </p:nvSpPr>
        <p:spPr>
          <a:xfrm>
            <a:off x="641350" y="544828"/>
            <a:ext cx="7861300" cy="769441"/>
          </a:xfrm>
          <a:prstGeom prst="rect">
            <a:avLst/>
          </a:prstGeom>
        </p:spPr>
        <p:txBody>
          <a:bodyPr>
            <a:normAutofit/>
          </a:bodyPr>
          <a:lstStyle>
            <a:lvl1pPr>
              <a:defRPr sz="2400">
                <a:latin typeface="Arial" pitchFamily="34" charset="0"/>
                <a:cs typeface="Arial" pitchFamily="34" charset="0"/>
              </a:defRPr>
            </a:lvl1pPr>
          </a:lstStyle>
          <a:p>
            <a:r>
              <a:rPr lang="fr-FR"/>
              <a:t>Modifiez le style du titre</a:t>
            </a:r>
            <a:endParaRPr lang="fr-FR" dirty="0"/>
          </a:p>
        </p:txBody>
      </p:sp>
      <p:sp>
        <p:nvSpPr>
          <p:cNvPr id="3" name="Espace réservé du pied de page 4"/>
          <p:cNvSpPr>
            <a:spLocks noGrp="1"/>
          </p:cNvSpPr>
          <p:nvPr>
            <p:ph type="ftr" sz="quarter" idx="3"/>
          </p:nvPr>
        </p:nvSpPr>
        <p:spPr>
          <a:xfrm>
            <a:off x="641350" y="6506642"/>
            <a:ext cx="958596" cy="123111"/>
          </a:xfrm>
          <a:prstGeom prst="rect">
            <a:avLst/>
          </a:prstGeom>
        </p:spPr>
        <p:txBody>
          <a:bodyPr wrap="none" lIns="0" tIns="0" rIns="0" bIns="0" anchor="ctr">
            <a:spAutoFit/>
          </a:bodyPr>
          <a:lstStyle>
            <a:lvl1pPr>
              <a:defRPr sz="800"/>
            </a:lvl1pPr>
          </a:lstStyle>
          <a:p>
            <a:r>
              <a:rPr lang="en-US" noProof="0"/>
              <a:t>ISO/TC 188/ SC1 CEN plenary  28 Nov- 2 Dec 2022</a:t>
            </a:r>
            <a:endParaRPr lang="fr-FR" noProof="0"/>
          </a:p>
        </p:txBody>
      </p:sp>
    </p:spTree>
    <p:extLst>
      <p:ext uri="{BB962C8B-B14F-4D97-AF65-F5344CB8AC3E}">
        <p14:creationId xmlns:p14="http://schemas.microsoft.com/office/powerpoint/2010/main" val="77727871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ph + Paragraphe">
    <p:spTree>
      <p:nvGrpSpPr>
        <p:cNvPr id="1" name=""/>
        <p:cNvGrpSpPr/>
        <p:nvPr/>
      </p:nvGrpSpPr>
      <p:grpSpPr>
        <a:xfrm>
          <a:off x="0" y="0"/>
          <a:ext cx="0" cy="0"/>
          <a:chOff x="0" y="0"/>
          <a:chExt cx="0" cy="0"/>
        </a:xfrm>
      </p:grpSpPr>
      <p:sp>
        <p:nvSpPr>
          <p:cNvPr id="6" name="Title 4"/>
          <p:cNvSpPr>
            <a:spLocks noGrp="1"/>
          </p:cNvSpPr>
          <p:nvPr>
            <p:ph type="title"/>
          </p:nvPr>
        </p:nvSpPr>
        <p:spPr>
          <a:xfrm>
            <a:off x="641350" y="544828"/>
            <a:ext cx="7861300" cy="769441"/>
          </a:xfrm>
          <a:prstGeom prst="rect">
            <a:avLst/>
          </a:prstGeom>
        </p:spPr>
        <p:txBody>
          <a:bodyPr>
            <a:normAutofit/>
          </a:bodyPr>
          <a:lstStyle>
            <a:lvl1pPr>
              <a:defRPr sz="2400">
                <a:latin typeface="Arial" pitchFamily="34" charset="0"/>
                <a:cs typeface="Arial" pitchFamily="34" charset="0"/>
              </a:defRPr>
            </a:lvl1pPr>
          </a:lstStyle>
          <a:p>
            <a:r>
              <a:rPr lang="fr-FR"/>
              <a:t>Modifiez le style du titre</a:t>
            </a:r>
            <a:endParaRPr lang="fr-FR" dirty="0"/>
          </a:p>
        </p:txBody>
      </p:sp>
      <p:sp>
        <p:nvSpPr>
          <p:cNvPr id="3" name="Espace réservé du pied de page 4"/>
          <p:cNvSpPr>
            <a:spLocks noGrp="1"/>
          </p:cNvSpPr>
          <p:nvPr>
            <p:ph type="ftr" sz="quarter" idx="3"/>
          </p:nvPr>
        </p:nvSpPr>
        <p:spPr>
          <a:xfrm>
            <a:off x="641350" y="6506642"/>
            <a:ext cx="958596" cy="123111"/>
          </a:xfrm>
          <a:prstGeom prst="rect">
            <a:avLst/>
          </a:prstGeom>
        </p:spPr>
        <p:txBody>
          <a:bodyPr wrap="none" lIns="0" tIns="0" rIns="0" bIns="0" anchor="ctr">
            <a:spAutoFit/>
          </a:bodyPr>
          <a:lstStyle>
            <a:lvl1pPr>
              <a:defRPr sz="800"/>
            </a:lvl1pPr>
          </a:lstStyle>
          <a:p>
            <a:r>
              <a:rPr lang="en-US" noProof="0"/>
              <a:t>ISO/TC 188/ SC1 CEN plenary  28 Nov- 2 Dec 2022</a:t>
            </a:r>
            <a:endParaRPr lang="fr-FR" noProof="0"/>
          </a:p>
        </p:txBody>
      </p:sp>
      <p:sp>
        <p:nvSpPr>
          <p:cNvPr id="7" name="Text Placeholder 9"/>
          <p:cNvSpPr>
            <a:spLocks noGrp="1"/>
          </p:cNvSpPr>
          <p:nvPr>
            <p:ph type="body" sz="quarter" idx="11"/>
          </p:nvPr>
        </p:nvSpPr>
        <p:spPr>
          <a:xfrm>
            <a:off x="4330461" y="1988840"/>
            <a:ext cx="4172189" cy="3816424"/>
          </a:xfrm>
        </p:spPr>
        <p:txBody>
          <a:bodyPr/>
          <a:lstStyle/>
          <a:p>
            <a:pPr lvl="0"/>
            <a:r>
              <a:rPr lang="fr-FR"/>
              <a:t>Modifiez les styles du texte du masque</a:t>
            </a:r>
          </a:p>
          <a:p>
            <a:pPr lvl="1"/>
            <a:r>
              <a:rPr lang="fr-FR"/>
              <a:t>Deuxième niveau</a:t>
            </a:r>
          </a:p>
          <a:p>
            <a:pPr lvl="2"/>
            <a:r>
              <a:rPr lang="fr-FR"/>
              <a:t>Troisième niveau</a:t>
            </a:r>
          </a:p>
        </p:txBody>
      </p:sp>
      <p:sp>
        <p:nvSpPr>
          <p:cNvPr id="8" name="Rectangle 7"/>
          <p:cNvSpPr/>
          <p:nvPr userDrawn="1"/>
        </p:nvSpPr>
        <p:spPr>
          <a:xfrm>
            <a:off x="539552" y="1988840"/>
            <a:ext cx="3507347" cy="38164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489354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2.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1.xml"/><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10" name="Google Shape;10;p5"/>
          <p:cNvGraphicFramePr/>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r:id="rId6" imgW="1587" imgH="1587" progId="">
                  <p:embed/>
                </p:oleObj>
              </mc:Choice>
              <mc:Fallback>
                <p:oleObj r:id="rId6" imgW="1587" imgH="1587" progId="">
                  <p:embed/>
                  <p:pic>
                    <p:nvPicPr>
                      <p:cNvPr id="10" name="Google Shape;10;p5"/>
                      <p:cNvPicPr preferRelativeResize="0"/>
                      <p:nvPr/>
                    </p:nvPicPr>
                    <p:blipFill rotWithShape="1">
                      <a:blip r:embed="rId7">
                        <a:alphaModFix/>
                      </a:blip>
                      <a:srcRect/>
                      <a:stretch/>
                    </p:blipFill>
                    <p:spPr>
                      <a:xfrm>
                        <a:off x="1587" y="1588"/>
                        <a:ext cx="1587" cy="1587"/>
                      </a:xfrm>
                      <a:prstGeom prst="rect">
                        <a:avLst/>
                      </a:prstGeom>
                      <a:noFill/>
                      <a:ln>
                        <a:noFill/>
                      </a:ln>
                    </p:spPr>
                  </p:pic>
                </p:oleObj>
              </mc:Fallback>
            </mc:AlternateContent>
          </a:graphicData>
        </a:graphic>
      </p:graphicFrame>
      <p:sp>
        <p:nvSpPr>
          <p:cNvPr id="11" name="Google Shape;11;p5"/>
          <p:cNvSpPr txBox="1">
            <a:spLocks noGrp="1"/>
          </p:cNvSpPr>
          <p:nvPr>
            <p:ph type="body" idx="1"/>
          </p:nvPr>
        </p:nvSpPr>
        <p:spPr>
          <a:xfrm>
            <a:off x="641350" y="1802675"/>
            <a:ext cx="7861300" cy="4171406"/>
          </a:xfrm>
          <a:prstGeom prst="rect">
            <a:avLst/>
          </a:prstGeom>
          <a:noFill/>
          <a:ln>
            <a:noFill/>
          </a:ln>
        </p:spPr>
        <p:txBody>
          <a:bodyPr spcFirstLastPara="1" wrap="square" lIns="0" tIns="0" rIns="0" bIns="0" anchor="t" anchorCtr="0">
            <a:noAutofit/>
          </a:bodyPr>
          <a:lstStyle>
            <a:lvl1pPr marL="457200" marR="0" lvl="0" indent="-228600" algn="just" rtl="0">
              <a:lnSpc>
                <a:spcPct val="100000"/>
              </a:lnSpc>
              <a:spcBef>
                <a:spcPts val="0"/>
              </a:spcBef>
              <a:spcAft>
                <a:spcPts val="0"/>
              </a:spcAft>
              <a:buClr>
                <a:srgbClr val="FCDD2B"/>
              </a:buClr>
              <a:buSzPts val="1600"/>
              <a:buFont typeface="Arial"/>
              <a:buNone/>
              <a:defRPr sz="1600" b="1" i="0" u="none" strike="noStrike" cap="none">
                <a:solidFill>
                  <a:srgbClr val="000003"/>
                </a:solidFill>
                <a:latin typeface="Arial"/>
                <a:ea typeface="Arial"/>
                <a:cs typeface="Arial"/>
                <a:sym typeface="Arial"/>
              </a:defRPr>
            </a:lvl1pPr>
            <a:lvl2pPr marL="914400" marR="0" lvl="1" indent="-309880" algn="just" rtl="0">
              <a:lnSpc>
                <a:spcPct val="100000"/>
              </a:lnSpc>
              <a:spcBef>
                <a:spcPts val="300"/>
              </a:spcBef>
              <a:spcAft>
                <a:spcPts val="0"/>
              </a:spcAft>
              <a:buClr>
                <a:srgbClr val="FCDD2B"/>
              </a:buClr>
              <a:buSzPts val="1280"/>
              <a:buFont typeface="Arial"/>
              <a:buChar char="•"/>
              <a:defRPr sz="1600" b="0" i="0" u="none" strike="noStrike" cap="none">
                <a:solidFill>
                  <a:srgbClr val="000003"/>
                </a:solidFill>
                <a:latin typeface="Arial"/>
                <a:ea typeface="Arial"/>
                <a:cs typeface="Arial"/>
                <a:sym typeface="Arial"/>
              </a:defRPr>
            </a:lvl2pPr>
            <a:lvl3pPr marL="1371600" marR="0" lvl="2" indent="-330200" algn="just" rtl="0">
              <a:lnSpc>
                <a:spcPct val="100000"/>
              </a:lnSpc>
              <a:spcBef>
                <a:spcPts val="300"/>
              </a:spcBef>
              <a:spcAft>
                <a:spcPts val="0"/>
              </a:spcAft>
              <a:buClr>
                <a:schemeClr val="accent1"/>
              </a:buClr>
              <a:buSzPts val="1600"/>
              <a:buFont typeface="Noto Sans Symbols"/>
              <a:buChar char="◼"/>
              <a:defRPr sz="1600" b="0" i="0" u="none" strike="noStrike" cap="none">
                <a:solidFill>
                  <a:srgbClr val="000003"/>
                </a:solidFill>
                <a:latin typeface="Arial"/>
                <a:ea typeface="Arial"/>
                <a:cs typeface="Arial"/>
                <a:sym typeface="Arial"/>
              </a:defRPr>
            </a:lvl3pPr>
            <a:lvl4pPr marL="1828800" marR="0" lvl="3" indent="-330200" algn="just" rtl="0">
              <a:lnSpc>
                <a:spcPct val="100000"/>
              </a:lnSpc>
              <a:spcBef>
                <a:spcPts val="300"/>
              </a:spcBef>
              <a:spcAft>
                <a:spcPts val="0"/>
              </a:spcAft>
              <a:buClr>
                <a:srgbClr val="FCDD2B"/>
              </a:buClr>
              <a:buSzPts val="1600"/>
              <a:buFont typeface="Noto Sans Symbols"/>
              <a:buChar char="▪"/>
              <a:defRPr sz="1600" b="0" i="0" u="none" strike="noStrike" cap="none">
                <a:solidFill>
                  <a:srgbClr val="000003"/>
                </a:solidFill>
                <a:latin typeface="Arial"/>
                <a:ea typeface="Arial"/>
                <a:cs typeface="Arial"/>
                <a:sym typeface="Arial"/>
              </a:defRPr>
            </a:lvl4pPr>
            <a:lvl5pPr marL="2286000" marR="0" lvl="4" indent="-330200" algn="just" rtl="0">
              <a:lnSpc>
                <a:spcPct val="100000"/>
              </a:lnSpc>
              <a:spcBef>
                <a:spcPts val="0"/>
              </a:spcBef>
              <a:spcAft>
                <a:spcPts val="0"/>
              </a:spcAft>
              <a:buClr>
                <a:srgbClr val="FCDD2B"/>
              </a:buClr>
              <a:buSzPts val="1600"/>
              <a:buFont typeface="Noto Sans Symbols"/>
              <a:buChar char="▪"/>
              <a:defRPr sz="1600" b="0" i="0" u="none" strike="noStrike" cap="none">
                <a:solidFill>
                  <a:srgbClr val="000003"/>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2" name="Google Shape;12;p5"/>
          <p:cNvCxnSpPr/>
          <p:nvPr/>
        </p:nvCxnSpPr>
        <p:spPr>
          <a:xfrm>
            <a:off x="641350" y="6425680"/>
            <a:ext cx="7861300" cy="1588"/>
          </a:xfrm>
          <a:prstGeom prst="straightConnector1">
            <a:avLst/>
          </a:prstGeom>
          <a:noFill/>
          <a:ln w="9525" cap="flat" cmpd="sng">
            <a:solidFill>
              <a:srgbClr val="000003"/>
            </a:solidFill>
            <a:prstDash val="solid"/>
            <a:miter lim="800000"/>
            <a:headEnd type="none" w="sm" len="sm"/>
            <a:tailEnd type="none" w="sm" len="sm"/>
          </a:ln>
        </p:spPr>
      </p:cxnSp>
      <p:sp>
        <p:nvSpPr>
          <p:cNvPr id="13" name="Google Shape;13;p5"/>
          <p:cNvSpPr txBox="1">
            <a:spLocks noGrp="1"/>
          </p:cNvSpPr>
          <p:nvPr>
            <p:ph type="title"/>
          </p:nvPr>
        </p:nvSpPr>
        <p:spPr>
          <a:xfrm>
            <a:off x="641350" y="544828"/>
            <a:ext cx="7861300" cy="769441"/>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 name="Google Shape;14;p5"/>
          <p:cNvSpPr/>
          <p:nvPr/>
        </p:nvSpPr>
        <p:spPr>
          <a:xfrm>
            <a:off x="399056" y="325483"/>
            <a:ext cx="765175" cy="766763"/>
          </a:xfrm>
          <a:custGeom>
            <a:avLst/>
            <a:gdLst/>
            <a:ahLst/>
            <a:cxnLst/>
            <a:rect l="l" t="t" r="r" b="b"/>
            <a:pathLst>
              <a:path w="482" h="483" extrusionOk="0">
                <a:moveTo>
                  <a:pt x="482" y="0"/>
                </a:moveTo>
                <a:lnTo>
                  <a:pt x="0" y="0"/>
                </a:lnTo>
                <a:lnTo>
                  <a:pt x="0" y="483"/>
                </a:lnTo>
                <a:lnTo>
                  <a:pt x="74" y="408"/>
                </a:lnTo>
                <a:lnTo>
                  <a:pt x="74" y="74"/>
                </a:lnTo>
                <a:lnTo>
                  <a:pt x="408" y="74"/>
                </a:lnTo>
                <a:lnTo>
                  <a:pt x="482" y="0"/>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5" name="Google Shape;15;p5"/>
          <p:cNvSpPr txBox="1"/>
          <p:nvPr/>
        </p:nvSpPr>
        <p:spPr>
          <a:xfrm>
            <a:off x="8106708" y="6506642"/>
            <a:ext cx="395942" cy="123111"/>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800"/>
              <a:buFont typeface="Arial"/>
              <a:buNone/>
            </a:pPr>
            <a:r>
              <a:rPr lang="en-US" sz="800" b="0" i="0" u="none" strike="noStrike" cap="none">
                <a:solidFill>
                  <a:schemeClr val="dk1"/>
                </a:solidFill>
                <a:latin typeface="Arial"/>
                <a:ea typeface="Arial"/>
                <a:cs typeface="Arial"/>
                <a:sym typeface="Arial"/>
              </a:rPr>
              <a:t>Page </a:t>
            </a:r>
            <a:fld id="{00000000-1234-1234-1234-123412341234}" type="slidenum">
              <a:rPr lang="en-US" sz="800" b="0" i="0" u="none" strike="noStrike" cap="none">
                <a:solidFill>
                  <a:schemeClr val="dk1"/>
                </a:solidFill>
                <a:latin typeface="Arial"/>
                <a:ea typeface="Arial"/>
                <a:cs typeface="Arial"/>
                <a:sym typeface="Arial"/>
              </a:rPr>
              <a:t>‹N°›</a:t>
            </a:fld>
            <a:endParaRPr sz="800" b="0" i="0" u="none" strike="noStrike" cap="none">
              <a:solidFill>
                <a:schemeClr val="dk1"/>
              </a:solidFill>
              <a:latin typeface="Arial"/>
              <a:ea typeface="Arial"/>
              <a:cs typeface="Arial"/>
              <a:sym typeface="Arial"/>
            </a:endParaRPr>
          </a:p>
        </p:txBody>
      </p:sp>
      <p:sp>
        <p:nvSpPr>
          <p:cNvPr id="16" name="Google Shape;16;p5"/>
          <p:cNvSpPr txBox="1">
            <a:spLocks noGrp="1"/>
          </p:cNvSpPr>
          <p:nvPr>
            <p:ph type="ftr" idx="11"/>
          </p:nvPr>
        </p:nvSpPr>
        <p:spPr>
          <a:xfrm>
            <a:off x="641350" y="6506642"/>
            <a:ext cx="958596" cy="123111"/>
          </a:xfrm>
          <a:prstGeom prst="rect">
            <a:avLst/>
          </a:prstGeom>
          <a:noFill/>
          <a:ln>
            <a:noFill/>
          </a:ln>
        </p:spPr>
        <p:txBody>
          <a:bodyPr spcFirstLastPara="1" wrap="square" lIns="0" tIns="0" rIns="0" bIns="0" anchor="ctr" anchorCtr="0">
            <a:sp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2" name="MSIPCMContentMarking" descr="{&quot;HashCode&quot;:1750409307,&quot;Placement&quot;:&quot;Header&quot;,&quot;Top&quot;:0.0,&quot;Left&quot;:649.3944,&quot;SlideWidth&quot;:720,&quot;SlideHeight&quot;:540}">
            <a:extLst>
              <a:ext uri="{FF2B5EF4-FFF2-40B4-BE49-F238E27FC236}">
                <a16:creationId xmlns:a16="http://schemas.microsoft.com/office/drawing/2014/main" id="{B558CF9C-60F6-65C4-B850-3252AF9BB583}"/>
              </a:ext>
            </a:extLst>
          </p:cNvPr>
          <p:cNvSpPr txBox="1"/>
          <p:nvPr userDrawn="1"/>
        </p:nvSpPr>
        <p:spPr>
          <a:xfrm>
            <a:off x="8247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a:solidFill>
                  <a:srgbClr val="006AFF"/>
                </a:solidFill>
                <a:latin typeface="Arial Black" panose="020B0A04020102020204" pitchFamily="34" charset="0"/>
              </a:rPr>
              <a:t>C1-INTERNAL</a:t>
            </a:r>
          </a:p>
        </p:txBody>
      </p:sp>
    </p:spTree>
  </p:cSld>
  <p:clrMap bg1="lt1" tx1="dk1" bg2="dk2" tx2="lt2" accent1="accent1" accent2="accent2" accent3="accent3" accent4="accent4" accent5="accent5" accent6="accent6" hlink="hlink" folHlink="folHlink"/>
  <p:sldLayoutIdLst>
    <p:sldLayoutId id="2147483650" r:id="rId1"/>
    <p:sldLayoutId id="2147483652" r:id="rId2"/>
    <p:sldLayoutId id="2147483653" r:id="rId3"/>
    <p:sldLayoutId id="2147483654" r:id="rId4"/>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12" name="Object 1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641350" y="1802675"/>
            <a:ext cx="7861300" cy="417140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endParaRPr lang="fr-FR" dirty="0"/>
          </a:p>
        </p:txBody>
      </p:sp>
      <p:sp>
        <p:nvSpPr>
          <p:cNvPr id="9" name="Line 122"/>
          <p:cNvSpPr>
            <a:spLocks noChangeShapeType="1"/>
          </p:cNvSpPr>
          <p:nvPr userDrawn="1"/>
        </p:nvSpPr>
        <p:spPr bwMode="auto">
          <a:xfrm>
            <a:off x="641350" y="6425680"/>
            <a:ext cx="7861300" cy="1588"/>
          </a:xfrm>
          <a:prstGeom prst="line">
            <a:avLst/>
          </a:prstGeom>
          <a:noFill/>
          <a:ln w="3175" cap="flat">
            <a:solidFill>
              <a:srgbClr val="000003"/>
            </a:solidFill>
            <a:prstDash val="solid"/>
            <a:miter lim="800000"/>
            <a:headEnd/>
            <a:tailEnd/>
          </a:ln>
        </p:spPr>
        <p:txBody>
          <a:bodyPr vert="horz" wrap="square" lIns="91440" tIns="45720" rIns="91440" bIns="45720" numCol="1" anchor="t" anchorCtr="0" compatLnSpc="1">
            <a:prstTxWarp prst="textNoShape">
              <a:avLst/>
            </a:prstTxWarp>
          </a:bodyPr>
          <a:lstStyle/>
          <a:p>
            <a:endParaRPr lang="fr-FR"/>
          </a:p>
        </p:txBody>
      </p:sp>
      <p:sp>
        <p:nvSpPr>
          <p:cNvPr id="13" name="Title Placeholder 12"/>
          <p:cNvSpPr>
            <a:spLocks noGrp="1"/>
          </p:cNvSpPr>
          <p:nvPr>
            <p:ph type="title"/>
          </p:nvPr>
        </p:nvSpPr>
        <p:spPr>
          <a:xfrm>
            <a:off x="641350" y="544828"/>
            <a:ext cx="7861300" cy="769441"/>
          </a:xfrm>
          <a:prstGeom prst="rect">
            <a:avLst/>
          </a:prstGeom>
        </p:spPr>
        <p:txBody>
          <a:bodyPr vert="horz" lIns="0" tIns="0" rIns="0" bIns="0" rtlCol="0" anchor="t">
            <a:noAutofit/>
          </a:bodyPr>
          <a:lstStyle/>
          <a:p>
            <a:r>
              <a:rPr lang="fr-FR"/>
              <a:t>Modifiez le style du titre</a:t>
            </a:r>
            <a:endParaRPr lang="fr-FR" dirty="0"/>
          </a:p>
        </p:txBody>
      </p:sp>
      <p:sp>
        <p:nvSpPr>
          <p:cNvPr id="14" name="Freeform 6"/>
          <p:cNvSpPr>
            <a:spLocks/>
          </p:cNvSpPr>
          <p:nvPr userDrawn="1"/>
        </p:nvSpPr>
        <p:spPr bwMode="auto">
          <a:xfrm>
            <a:off x="399056" y="325483"/>
            <a:ext cx="765175" cy="766763"/>
          </a:xfrm>
          <a:custGeom>
            <a:avLst/>
            <a:gdLst/>
            <a:ahLst/>
            <a:cxnLst>
              <a:cxn ang="0">
                <a:pos x="482" y="0"/>
              </a:cxn>
              <a:cxn ang="0">
                <a:pos x="0" y="0"/>
              </a:cxn>
              <a:cxn ang="0">
                <a:pos x="0" y="483"/>
              </a:cxn>
              <a:cxn ang="0">
                <a:pos x="74" y="408"/>
              </a:cxn>
              <a:cxn ang="0">
                <a:pos x="74" y="74"/>
              </a:cxn>
              <a:cxn ang="0">
                <a:pos x="408" y="74"/>
              </a:cxn>
              <a:cxn ang="0">
                <a:pos x="482" y="0"/>
              </a:cxn>
            </a:cxnLst>
            <a:rect l="0" t="0" r="r" b="b"/>
            <a:pathLst>
              <a:path w="482" h="483">
                <a:moveTo>
                  <a:pt x="482" y="0"/>
                </a:moveTo>
                <a:lnTo>
                  <a:pt x="0" y="0"/>
                </a:lnTo>
                <a:lnTo>
                  <a:pt x="0" y="483"/>
                </a:lnTo>
                <a:lnTo>
                  <a:pt x="74" y="408"/>
                </a:lnTo>
                <a:lnTo>
                  <a:pt x="74" y="74"/>
                </a:lnTo>
                <a:lnTo>
                  <a:pt x="408" y="74"/>
                </a:lnTo>
                <a:lnTo>
                  <a:pt x="482"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TextBox 15"/>
          <p:cNvSpPr txBox="1"/>
          <p:nvPr userDrawn="1"/>
        </p:nvSpPr>
        <p:spPr>
          <a:xfrm>
            <a:off x="8106708" y="6506642"/>
            <a:ext cx="395942" cy="123111"/>
          </a:xfrm>
          <a:prstGeom prst="rect">
            <a:avLst/>
          </a:prstGeom>
          <a:noFill/>
        </p:spPr>
        <p:txBody>
          <a:bodyPr wrap="none" lIns="0" tIns="0" rIns="0" bIns="0" rtlCol="0">
            <a:spAutoFit/>
          </a:bodyPr>
          <a:lstStyle/>
          <a:p>
            <a:pPr algn="r"/>
            <a:r>
              <a:rPr lang="fr-FR" sz="800" dirty="0"/>
              <a:t>Page </a:t>
            </a:r>
            <a:fld id="{FB98A01C-4B13-4725-BB5B-F27599E95DBA}" type="slidenum">
              <a:rPr lang="fr-FR" sz="800" smtClean="0"/>
              <a:pPr algn="r"/>
              <a:t>‹N°›</a:t>
            </a:fld>
            <a:endParaRPr lang="fr-FR" sz="800" dirty="0"/>
          </a:p>
        </p:txBody>
      </p:sp>
      <p:sp>
        <p:nvSpPr>
          <p:cNvPr id="8" name="Espace réservé du pied de page 4"/>
          <p:cNvSpPr>
            <a:spLocks noGrp="1"/>
          </p:cNvSpPr>
          <p:nvPr>
            <p:ph type="ftr" sz="quarter" idx="3"/>
          </p:nvPr>
        </p:nvSpPr>
        <p:spPr>
          <a:xfrm>
            <a:off x="641350" y="6506642"/>
            <a:ext cx="958596" cy="123111"/>
          </a:xfrm>
          <a:prstGeom prst="rect">
            <a:avLst/>
          </a:prstGeom>
        </p:spPr>
        <p:txBody>
          <a:bodyPr wrap="none" lIns="0" tIns="0" rIns="0" bIns="0" anchor="ctr">
            <a:spAutoFit/>
          </a:bodyPr>
          <a:lstStyle>
            <a:lvl1pPr>
              <a:defRPr sz="800"/>
            </a:lvl1pPr>
          </a:lstStyle>
          <a:p>
            <a:r>
              <a:rPr lang="en-US" noProof="0"/>
              <a:t>ISO/TC 188/ SC1 CEN plenary  28 Nov- 2 Dec 2022</a:t>
            </a:r>
            <a:endParaRPr lang="fr-FR" noProof="0"/>
          </a:p>
        </p:txBody>
      </p:sp>
      <p:sp>
        <p:nvSpPr>
          <p:cNvPr id="2" name="MSIPCMContentMarking" descr="{&quot;HashCode&quot;:1750409307,&quot;Placement&quot;:&quot;Header&quot;,&quot;Top&quot;:0.0,&quot;Left&quot;:649.3944,&quot;SlideWidth&quot;:720,&quot;SlideHeight&quot;:540}">
            <a:extLst>
              <a:ext uri="{FF2B5EF4-FFF2-40B4-BE49-F238E27FC236}">
                <a16:creationId xmlns:a16="http://schemas.microsoft.com/office/drawing/2014/main" id="{9205F036-DAE0-4897-E658-BAECC0290D29}"/>
              </a:ext>
            </a:extLst>
          </p:cNvPr>
          <p:cNvSpPr txBox="1"/>
          <p:nvPr userDrawn="1"/>
        </p:nvSpPr>
        <p:spPr>
          <a:xfrm>
            <a:off x="8247309" y="0"/>
            <a:ext cx="896691" cy="227915"/>
          </a:xfrm>
          <a:prstGeom prst="rect">
            <a:avLst/>
          </a:prstGeom>
          <a:noFill/>
        </p:spPr>
        <p:txBody>
          <a:bodyPr vert="horz" wrap="square" lIns="0" tIns="0" rIns="0" bIns="0" rtlCol="0" anchor="ctr" anchorCtr="1">
            <a:spAutoFit/>
          </a:bodyPr>
          <a:lstStyle/>
          <a:p>
            <a:pPr algn="r">
              <a:spcBef>
                <a:spcPts val="0"/>
              </a:spcBef>
              <a:spcAft>
                <a:spcPts val="0"/>
              </a:spcAft>
            </a:pPr>
            <a:r>
              <a:rPr lang="fr-FR" sz="700">
                <a:solidFill>
                  <a:srgbClr val="006AFF"/>
                </a:solidFill>
                <a:latin typeface="Arial Black" panose="020B0A04020102020204" pitchFamily="34" charset="0"/>
              </a:rPr>
              <a:t>C1-INTERNAL</a:t>
            </a:r>
          </a:p>
        </p:txBody>
      </p:sp>
    </p:spTree>
    <p:extLst>
      <p:ext uri="{BB962C8B-B14F-4D97-AF65-F5344CB8AC3E}">
        <p14:creationId xmlns:p14="http://schemas.microsoft.com/office/powerpoint/2010/main" val="939297724"/>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Lst>
  <p:transition>
    <p:fade/>
  </p:transition>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2400" b="1" kern="1200" cap="all" baseline="0">
          <a:solidFill>
            <a:schemeClr val="tx1"/>
          </a:solidFill>
          <a:latin typeface="+mj-lt"/>
          <a:ea typeface="+mj-ea"/>
          <a:cs typeface="+mj-cs"/>
        </a:defRPr>
      </a:lvl1pPr>
    </p:titleStyle>
    <p:bodyStyle>
      <a:lvl1pPr marL="0" indent="0" algn="just" defTabSz="914400" rtl="0" eaLnBrk="1" fontAlgn="base" latinLnBrk="0" hangingPunct="1">
        <a:spcBef>
          <a:spcPct val="0"/>
        </a:spcBef>
        <a:spcAft>
          <a:spcPts val="300"/>
        </a:spcAft>
        <a:buClr>
          <a:srgbClr val="FCDD2B"/>
        </a:buClr>
        <a:buFont typeface="Arial" pitchFamily="34" charset="0"/>
        <a:buNone/>
        <a:defRPr lang="en-US" sz="1600" b="1" kern="1200" dirty="0" smtClean="0">
          <a:solidFill>
            <a:srgbClr val="000003"/>
          </a:solidFill>
          <a:latin typeface="Arial" pitchFamily="34" charset="0"/>
          <a:ea typeface="+mn-ea"/>
          <a:cs typeface="Arial" pitchFamily="34" charset="0"/>
        </a:defRPr>
      </a:lvl1pPr>
      <a:lvl2pPr marL="358775" indent="-180975" algn="just" defTabSz="914400" rtl="0" eaLnBrk="1" fontAlgn="base" latinLnBrk="0" hangingPunct="1">
        <a:spcBef>
          <a:spcPct val="0"/>
        </a:spcBef>
        <a:spcAft>
          <a:spcPts val="300"/>
        </a:spcAft>
        <a:buClr>
          <a:srgbClr val="FCDD2B"/>
        </a:buClr>
        <a:buSzPct val="80000"/>
        <a:buFontTx/>
        <a:buBlip>
          <a:blip r:embed="rId13"/>
        </a:buBlip>
        <a:defRPr lang="en-US" sz="1600" kern="1200" dirty="0" smtClean="0">
          <a:solidFill>
            <a:srgbClr val="000003"/>
          </a:solidFill>
          <a:latin typeface="Arial" pitchFamily="34" charset="0"/>
          <a:ea typeface="+mn-ea"/>
          <a:cs typeface="Arial" pitchFamily="34" charset="0"/>
        </a:defRPr>
      </a:lvl2pPr>
      <a:lvl3pPr marL="544513" indent="-180975" algn="just" defTabSz="914400" rtl="0" eaLnBrk="1" fontAlgn="base" latinLnBrk="0" hangingPunct="1">
        <a:spcBef>
          <a:spcPct val="0"/>
        </a:spcBef>
        <a:spcAft>
          <a:spcPts val="300"/>
        </a:spcAft>
        <a:buClr>
          <a:schemeClr val="accent1"/>
        </a:buClr>
        <a:buFont typeface="Wingdings 2" pitchFamily="18" charset="2"/>
        <a:buChar char="¡"/>
        <a:defRPr lang="en-US" sz="1600" kern="1200" dirty="0" smtClean="0">
          <a:solidFill>
            <a:srgbClr val="000003"/>
          </a:solidFill>
          <a:latin typeface="Arial" pitchFamily="34" charset="0"/>
          <a:ea typeface="+mn-ea"/>
          <a:cs typeface="Arial" pitchFamily="34" charset="0"/>
        </a:defRPr>
      </a:lvl3pPr>
      <a:lvl4pPr marL="722313" indent="-180975" algn="just" defTabSz="914400" rtl="0" eaLnBrk="1" fontAlgn="base" latinLnBrk="0" hangingPunct="1">
        <a:spcBef>
          <a:spcPct val="0"/>
        </a:spcBef>
        <a:spcAft>
          <a:spcPct val="0"/>
        </a:spcAft>
        <a:buClr>
          <a:srgbClr val="FCDD2B"/>
        </a:buClr>
        <a:buFont typeface="Wingdings" pitchFamily="2" charset="2"/>
        <a:buChar char="§"/>
        <a:defRPr lang="en-US" sz="1600" kern="1200" dirty="0" smtClean="0">
          <a:solidFill>
            <a:srgbClr val="000003"/>
          </a:solidFill>
          <a:latin typeface="Arial" pitchFamily="34" charset="0"/>
          <a:ea typeface="+mn-ea"/>
          <a:cs typeface="Arial" pitchFamily="34" charset="0"/>
        </a:defRPr>
      </a:lvl4pPr>
      <a:lvl5pPr marL="900113" indent="-180975" algn="just" defTabSz="914400" rtl="0" eaLnBrk="1" fontAlgn="base" latinLnBrk="0" hangingPunct="1">
        <a:spcBef>
          <a:spcPct val="0"/>
        </a:spcBef>
        <a:spcAft>
          <a:spcPct val="0"/>
        </a:spcAft>
        <a:buClr>
          <a:srgbClr val="FCDD2B"/>
        </a:buClr>
        <a:buFont typeface="Wingdings" pitchFamily="2" charset="2"/>
        <a:buChar char="§"/>
        <a:defRPr lang="fr-FR" sz="1600" kern="1200" dirty="0">
          <a:solidFill>
            <a:srgbClr val="000003"/>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Espace réservé pour une image  13">
            <a:extLst>
              <a:ext uri="{FF2B5EF4-FFF2-40B4-BE49-F238E27FC236}">
                <a16:creationId xmlns:a16="http://schemas.microsoft.com/office/drawing/2014/main" id="{C0286FCA-0B20-7207-8DC4-F3E636106985}"/>
              </a:ext>
            </a:extLst>
          </p:cNvPr>
          <p:cNvPicPr>
            <a:picLocks noGrp="1" noChangeAspect="1"/>
          </p:cNvPicPr>
          <p:nvPr>
            <p:ph type="pic" sz="quarter" idx="16"/>
          </p:nvPr>
        </p:nvPicPr>
        <p:blipFill>
          <a:blip r:embed="rId2"/>
          <a:srcRect l="24366" r="24366"/>
          <a:stretch/>
        </p:blipFill>
        <p:spPr>
          <a:xfrm>
            <a:off x="3175" y="0"/>
            <a:ext cx="4994275" cy="5476875"/>
          </a:xfrm>
        </p:spPr>
      </p:pic>
      <p:sp>
        <p:nvSpPr>
          <p:cNvPr id="3" name="Titre 2">
            <a:extLst>
              <a:ext uri="{FF2B5EF4-FFF2-40B4-BE49-F238E27FC236}">
                <a16:creationId xmlns:a16="http://schemas.microsoft.com/office/drawing/2014/main" id="{AEF83BF2-062A-165A-B3CB-BAD5D37B13E9}"/>
              </a:ext>
            </a:extLst>
          </p:cNvPr>
          <p:cNvSpPr>
            <a:spLocks noGrp="1"/>
          </p:cNvSpPr>
          <p:nvPr>
            <p:ph type="ctrTitle"/>
          </p:nvPr>
        </p:nvSpPr>
        <p:spPr>
          <a:xfrm>
            <a:off x="5359905" y="2326288"/>
            <a:ext cx="3507037" cy="243896"/>
          </a:xfrm>
        </p:spPr>
        <p:txBody>
          <a:bodyPr/>
          <a:lstStyle/>
          <a:p>
            <a:r>
              <a:rPr lang="en-GB" sz="1600" b="1" dirty="0">
                <a:latin typeface="Arial" panose="020B0604020202020204" pitchFamily="34" charset="0"/>
                <a:cs typeface="Arial" panose="020B0604020202020204" pitchFamily="34" charset="0"/>
              </a:rPr>
              <a:t>ISO 20121 revision </a:t>
            </a:r>
            <a:br>
              <a:rPr lang="en-GB" sz="1600" b="1" dirty="0">
                <a:latin typeface="Arial" panose="020B0604020202020204" pitchFamily="34" charset="0"/>
                <a:cs typeface="Arial" panose="020B0604020202020204" pitchFamily="34" charset="0"/>
              </a:rPr>
            </a:br>
            <a:r>
              <a:rPr lang="en-GB" sz="1600" b="1" dirty="0">
                <a:latin typeface="Arial" panose="020B0604020202020204" pitchFamily="34" charset="0"/>
                <a:cs typeface="Arial" panose="020B0604020202020204" pitchFamily="34" charset="0"/>
              </a:rPr>
              <a:t>DIS period </a:t>
            </a:r>
            <a:br>
              <a:rPr lang="en-GB" sz="1600" b="1" dirty="0">
                <a:latin typeface="Arial" panose="020B0604020202020204" pitchFamily="34" charset="0"/>
                <a:cs typeface="Arial" panose="020B0604020202020204" pitchFamily="34" charset="0"/>
              </a:rPr>
            </a:br>
            <a:endParaRPr lang="en-GB" sz="1600" dirty="0">
              <a:latin typeface="Arial" panose="020B0604020202020204" pitchFamily="34" charset="0"/>
              <a:cs typeface="Arial" panose="020B0604020202020204" pitchFamily="34" charset="0"/>
            </a:endParaRPr>
          </a:p>
        </p:txBody>
      </p:sp>
      <p:sp>
        <p:nvSpPr>
          <p:cNvPr id="4" name="Sous-titre 3">
            <a:extLst>
              <a:ext uri="{FF2B5EF4-FFF2-40B4-BE49-F238E27FC236}">
                <a16:creationId xmlns:a16="http://schemas.microsoft.com/office/drawing/2014/main" id="{05E650F5-12F3-C807-2C7D-AFFEA2438233}"/>
              </a:ext>
            </a:extLst>
          </p:cNvPr>
          <p:cNvSpPr>
            <a:spLocks noGrp="1"/>
          </p:cNvSpPr>
          <p:nvPr>
            <p:ph type="subTitle" idx="1"/>
          </p:nvPr>
        </p:nvSpPr>
        <p:spPr/>
        <p:txBody>
          <a:bodyPr/>
          <a:lstStyle/>
          <a:p>
            <a:r>
              <a:rPr lang="en-GB" sz="2800" b="1" dirty="0">
                <a:solidFill>
                  <a:schemeClr val="bg1"/>
                </a:solidFill>
                <a:latin typeface="Arial" panose="020B0604020202020204" pitchFamily="34" charset="0"/>
                <a:cs typeface="Arial" panose="020B0604020202020204" pitchFamily="34" charset="0"/>
              </a:rPr>
              <a:t>ISO 20121 revision</a:t>
            </a:r>
            <a:endParaRPr lang="fr-FR" dirty="0">
              <a:solidFill>
                <a:schemeClr val="bg1"/>
              </a:solidFill>
            </a:endParaRPr>
          </a:p>
        </p:txBody>
      </p:sp>
      <p:sp>
        <p:nvSpPr>
          <p:cNvPr id="5" name="Espace réservé du texte 4">
            <a:extLst>
              <a:ext uri="{FF2B5EF4-FFF2-40B4-BE49-F238E27FC236}">
                <a16:creationId xmlns:a16="http://schemas.microsoft.com/office/drawing/2014/main" id="{026A3C1E-8CB9-06A4-719A-93DBB65177CD}"/>
              </a:ext>
            </a:extLst>
          </p:cNvPr>
          <p:cNvSpPr>
            <a:spLocks noGrp="1"/>
          </p:cNvSpPr>
          <p:nvPr>
            <p:ph type="body" sz="quarter" idx="10"/>
          </p:nvPr>
        </p:nvSpPr>
        <p:spPr/>
        <p:txBody>
          <a:bodyPr/>
          <a:lstStyle/>
          <a:p>
            <a:endParaRPr lang="fr-FR" dirty="0"/>
          </a:p>
        </p:txBody>
      </p:sp>
      <p:sp>
        <p:nvSpPr>
          <p:cNvPr id="6" name="Espace réservé du texte 5">
            <a:extLst>
              <a:ext uri="{FF2B5EF4-FFF2-40B4-BE49-F238E27FC236}">
                <a16:creationId xmlns:a16="http://schemas.microsoft.com/office/drawing/2014/main" id="{A4E53B90-A923-227F-8861-F5E12C5EA32C}"/>
              </a:ext>
            </a:extLst>
          </p:cNvPr>
          <p:cNvSpPr>
            <a:spLocks noGrp="1"/>
          </p:cNvSpPr>
          <p:nvPr>
            <p:ph type="body" sz="quarter" idx="11"/>
          </p:nvPr>
        </p:nvSpPr>
        <p:spPr/>
        <p:txBody>
          <a:bodyPr/>
          <a:lstStyle/>
          <a:p>
            <a:endParaRPr lang="fr-FR"/>
          </a:p>
        </p:txBody>
      </p:sp>
      <p:sp>
        <p:nvSpPr>
          <p:cNvPr id="7" name="Espace réservé du texte 6">
            <a:extLst>
              <a:ext uri="{FF2B5EF4-FFF2-40B4-BE49-F238E27FC236}">
                <a16:creationId xmlns:a16="http://schemas.microsoft.com/office/drawing/2014/main" id="{0A03073A-9519-0738-896D-19BF0616A813}"/>
              </a:ext>
            </a:extLst>
          </p:cNvPr>
          <p:cNvSpPr>
            <a:spLocks noGrp="1"/>
          </p:cNvSpPr>
          <p:nvPr>
            <p:ph type="body" sz="quarter" idx="12"/>
          </p:nvPr>
        </p:nvSpPr>
        <p:spPr/>
        <p:txBody>
          <a:bodyPr/>
          <a:lstStyle/>
          <a:p>
            <a:endParaRPr lang="fr-FR"/>
          </a:p>
        </p:txBody>
      </p:sp>
      <p:sp>
        <p:nvSpPr>
          <p:cNvPr id="8" name="Espace réservé du texte 7">
            <a:extLst>
              <a:ext uri="{FF2B5EF4-FFF2-40B4-BE49-F238E27FC236}">
                <a16:creationId xmlns:a16="http://schemas.microsoft.com/office/drawing/2014/main" id="{CFD6667F-2CED-68D0-A693-ECE6C9B5893B}"/>
              </a:ext>
            </a:extLst>
          </p:cNvPr>
          <p:cNvSpPr>
            <a:spLocks noGrp="1"/>
          </p:cNvSpPr>
          <p:nvPr>
            <p:ph type="body" sz="quarter" idx="13"/>
          </p:nvPr>
        </p:nvSpPr>
        <p:spPr/>
        <p:txBody>
          <a:bodyPr/>
          <a:lstStyle/>
          <a:p>
            <a:endParaRPr lang="fr-FR"/>
          </a:p>
        </p:txBody>
      </p:sp>
      <p:sp>
        <p:nvSpPr>
          <p:cNvPr id="9" name="Espace réservé du texte 8">
            <a:extLst>
              <a:ext uri="{FF2B5EF4-FFF2-40B4-BE49-F238E27FC236}">
                <a16:creationId xmlns:a16="http://schemas.microsoft.com/office/drawing/2014/main" id="{431C86CF-659E-E6B2-375A-7A74E3CA5CA6}"/>
              </a:ext>
            </a:extLst>
          </p:cNvPr>
          <p:cNvSpPr>
            <a:spLocks noGrp="1"/>
          </p:cNvSpPr>
          <p:nvPr>
            <p:ph type="body" sz="quarter" idx="14"/>
          </p:nvPr>
        </p:nvSpPr>
        <p:spPr/>
        <p:txBody>
          <a:bodyPr/>
          <a:lstStyle/>
          <a:p>
            <a:endParaRPr lang="fr-FR"/>
          </a:p>
        </p:txBody>
      </p:sp>
      <p:sp>
        <p:nvSpPr>
          <p:cNvPr id="10" name="Espace réservé du texte 9">
            <a:extLst>
              <a:ext uri="{FF2B5EF4-FFF2-40B4-BE49-F238E27FC236}">
                <a16:creationId xmlns:a16="http://schemas.microsoft.com/office/drawing/2014/main" id="{1FD84508-C38E-6C0A-9374-D08195ED3FA9}"/>
              </a:ext>
            </a:extLst>
          </p:cNvPr>
          <p:cNvSpPr>
            <a:spLocks noGrp="1"/>
          </p:cNvSpPr>
          <p:nvPr>
            <p:ph type="body" sz="quarter" idx="15"/>
          </p:nvPr>
        </p:nvSpPr>
        <p:spPr>
          <a:xfrm>
            <a:off x="5359905" y="3375905"/>
            <a:ext cx="3507037" cy="1506537"/>
          </a:xfrm>
        </p:spPr>
        <p:txBody>
          <a:bodyPr/>
          <a:lstStyle/>
          <a:p>
            <a:r>
              <a:rPr lang="en-GB" sz="1600" dirty="0">
                <a:latin typeface="Arial" panose="020B0604020202020204" pitchFamily="34" charset="0"/>
                <a:cs typeface="Arial" panose="020B0604020202020204" pitchFamily="34" charset="0"/>
              </a:rPr>
              <a:t>Understand how the revised version has been build</a:t>
            </a:r>
          </a:p>
          <a:p>
            <a:endParaRPr lang="en-GB" dirty="0"/>
          </a:p>
          <a:p>
            <a:r>
              <a:rPr lang="en-GB" dirty="0"/>
              <a:t>By Romain Riboud, </a:t>
            </a:r>
            <a:r>
              <a:rPr lang="en-GB" sz="1600" dirty="0">
                <a:latin typeface="Arial" panose="020B0604020202020204" pitchFamily="34" charset="0"/>
                <a:cs typeface="Arial" panose="020B0604020202020204" pitchFamily="34" charset="0"/>
              </a:rPr>
              <a:t>Convenor WG1</a:t>
            </a:r>
          </a:p>
          <a:p>
            <a:endParaRPr lang="fr-FR" dirty="0"/>
          </a:p>
        </p:txBody>
      </p:sp>
    </p:spTree>
    <p:extLst>
      <p:ext uri="{BB962C8B-B14F-4D97-AF65-F5344CB8AC3E}">
        <p14:creationId xmlns:p14="http://schemas.microsoft.com/office/powerpoint/2010/main" val="288698705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7D11D7-F8C6-EBBC-2B4F-FD7737322B4F}"/>
              </a:ext>
            </a:extLst>
          </p:cNvPr>
          <p:cNvSpPr>
            <a:spLocks noGrp="1"/>
          </p:cNvSpPr>
          <p:nvPr>
            <p:ph type="title"/>
          </p:nvPr>
        </p:nvSpPr>
        <p:spPr/>
        <p:txBody>
          <a:bodyPr/>
          <a:lstStyle/>
          <a:p>
            <a:r>
              <a:rPr lang="fr-FR" dirty="0"/>
              <a:t>APPENDIX</a:t>
            </a:r>
          </a:p>
        </p:txBody>
      </p:sp>
    </p:spTree>
    <p:extLst>
      <p:ext uri="{BB962C8B-B14F-4D97-AF65-F5344CB8AC3E}">
        <p14:creationId xmlns:p14="http://schemas.microsoft.com/office/powerpoint/2010/main" val="25845290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4" name="Google Shape;114;g23f2d70337f_0_87"/>
          <p:cNvSpPr txBox="1"/>
          <p:nvPr/>
        </p:nvSpPr>
        <p:spPr>
          <a:xfrm>
            <a:off x="450150" y="1314325"/>
            <a:ext cx="7410000" cy="954300"/>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For each workline, we have identified: </a:t>
            </a:r>
            <a:endParaRPr kumimoji="0" sz="18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1. </a:t>
            </a:r>
            <a:r>
              <a:rPr kumimoji="0" lang="en-US" sz="1800" b="0" i="0" u="none" strike="noStrike" kern="1200" cap="none" spc="0" normalizeH="0" baseline="0" noProof="0">
                <a:ln>
                  <a:noFill/>
                </a:ln>
                <a:solidFill>
                  <a:srgbClr val="000000"/>
                </a:solidFill>
                <a:effectLst/>
                <a:highlight>
                  <a:srgbClr val="FFFFFF"/>
                </a:highlight>
                <a:uLnTx/>
                <a:uFillTx/>
                <a:latin typeface="Arial"/>
                <a:ea typeface="+mn-ea"/>
                <a:cs typeface="+mn-cs"/>
              </a:rPr>
              <a:t>What was missing in the norm?</a:t>
            </a:r>
            <a:endParaRPr kumimoji="0" sz="18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800" b="0" i="0" u="none" strike="noStrike" kern="1200" cap="none" spc="0" normalizeH="0" baseline="0" noProof="0">
                <a:ln>
                  <a:noFill/>
                </a:ln>
                <a:solidFill>
                  <a:srgbClr val="000000"/>
                </a:solidFill>
                <a:effectLst/>
                <a:highlight>
                  <a:srgbClr val="FFFFFF"/>
                </a:highlight>
                <a:uLnTx/>
                <a:uFillTx/>
                <a:latin typeface="Arial"/>
                <a:ea typeface="+mn-ea"/>
                <a:cs typeface="+mn-cs"/>
              </a:rPr>
              <a:t>2. How was it addressed?</a:t>
            </a:r>
            <a:endParaRPr kumimoji="0" sz="18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800" b="0" i="0" u="none" strike="noStrike" kern="1200" cap="none" spc="0" normalizeH="0" baseline="0" noProof="0">
                <a:ln>
                  <a:noFill/>
                </a:ln>
                <a:solidFill>
                  <a:srgbClr val="000000"/>
                </a:solidFill>
                <a:effectLst/>
                <a:highlight>
                  <a:srgbClr val="FFFFFF"/>
                </a:highlight>
                <a:uLnTx/>
                <a:uFillTx/>
                <a:latin typeface="Arial"/>
                <a:ea typeface="+mn-ea"/>
                <a:cs typeface="+mn-cs"/>
              </a:rPr>
              <a:t>3. </a:t>
            </a:r>
            <a:r>
              <a:rPr kumimoji="0" lang="en-US" sz="1800" b="0" i="0" u="none" strike="noStrike" kern="1200" cap="none" spc="0" normalizeH="0" baseline="0" noProof="0">
                <a:ln>
                  <a:noFill/>
                </a:ln>
                <a:solidFill>
                  <a:srgbClr val="000000"/>
                </a:solidFill>
                <a:effectLst/>
                <a:uLnTx/>
                <a:uFillTx/>
                <a:latin typeface="Arial"/>
                <a:ea typeface="+mn-ea"/>
                <a:cs typeface="+mn-cs"/>
              </a:rPr>
              <a:t>Details of the General Comments made to date. </a:t>
            </a:r>
            <a:endParaRPr kumimoji="0" sz="1800" b="1" i="0" u="none" strike="noStrike" kern="1200" cap="none" spc="0" normalizeH="0" baseline="0" noProof="0">
              <a:ln>
                <a:noFill/>
              </a:ln>
              <a:solidFill>
                <a:srgbClr val="000000"/>
              </a:solidFill>
              <a:effectLst/>
              <a:uLnTx/>
              <a:uFillTx/>
              <a:latin typeface="Arial"/>
              <a:ea typeface="+mn-ea"/>
              <a:cs typeface="+mn-cs"/>
            </a:endParaRPr>
          </a:p>
        </p:txBody>
      </p:sp>
      <p:sp>
        <p:nvSpPr>
          <p:cNvPr id="115" name="Google Shape;115;g23f2d70337f_0_87"/>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DETAILS OF THE ANALYSIS</a:t>
            </a:r>
            <a:endParaRPr/>
          </a:p>
        </p:txBody>
      </p:sp>
      <p:sp>
        <p:nvSpPr>
          <p:cNvPr id="116" name="Google Shape;116;g23f2d70337f_0_87"/>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17" name="Google Shape;117;g23f2d70337f_0_87"/>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118" name="Google Shape;118;g23f2d70337f_0_87"/>
          <p:cNvGrpSpPr/>
          <p:nvPr/>
        </p:nvGrpSpPr>
        <p:grpSpPr>
          <a:xfrm>
            <a:off x="515675" y="2821707"/>
            <a:ext cx="1741335" cy="1214581"/>
            <a:chOff x="1844603" y="-2875906"/>
            <a:chExt cx="3427825" cy="2056521"/>
          </a:xfrm>
        </p:grpSpPr>
        <p:sp>
          <p:nvSpPr>
            <p:cNvPr id="119" name="Google Shape;119;g23f2d70337f_0_87"/>
            <p:cNvSpPr/>
            <p:nvPr/>
          </p:nvSpPr>
          <p:spPr>
            <a:xfrm>
              <a:off x="1844628" y="-2875906"/>
              <a:ext cx="3427800" cy="2056500"/>
            </a:xfrm>
            <a:prstGeom prst="rect">
              <a:avLst/>
            </a:prstGeom>
            <a:gradFill>
              <a:gsLst>
                <a:gs pos="0">
                  <a:srgbClr val="D03F3B"/>
                </a:gs>
                <a:gs pos="100000">
                  <a:srgbClr val="FF9995"/>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20" name="Google Shape;120;g23f2d70337f_0_87"/>
            <p:cNvSpPr txBox="1"/>
            <p:nvPr/>
          </p:nvSpPr>
          <p:spPr>
            <a:xfrm>
              <a:off x="1844603" y="-2875885"/>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Global Sustainability Frameworks </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grpSp>
        <p:nvGrpSpPr>
          <p:cNvPr id="121" name="Google Shape;121;g23f2d70337f_0_87"/>
          <p:cNvGrpSpPr/>
          <p:nvPr/>
        </p:nvGrpSpPr>
        <p:grpSpPr>
          <a:xfrm>
            <a:off x="2716388" y="2795595"/>
            <a:ext cx="1741322" cy="1266819"/>
            <a:chOff x="3565053" y="248015"/>
            <a:chExt cx="3427800" cy="2144969"/>
          </a:xfrm>
        </p:grpSpPr>
        <p:sp>
          <p:nvSpPr>
            <p:cNvPr id="122" name="Google Shape;122;g23f2d70337f_0_87"/>
            <p:cNvSpPr/>
            <p:nvPr/>
          </p:nvSpPr>
          <p:spPr>
            <a:xfrm>
              <a:off x="3565053" y="248015"/>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23" name="Google Shape;123;g23f2d70337f_0_87"/>
            <p:cNvSpPr txBox="1"/>
            <p:nvPr/>
          </p:nvSpPr>
          <p:spPr>
            <a:xfrm>
              <a:off x="3565053" y="336484"/>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Impact</a:t>
              </a:r>
              <a:r>
                <a:rPr kumimoji="0" lang="en-US" sz="1600" b="0" i="0" u="none" strike="noStrike" kern="1200" cap="none" spc="0" normalizeH="0" baseline="0" noProof="0">
                  <a:ln>
                    <a:noFill/>
                  </a:ln>
                  <a:solidFill>
                    <a:srgbClr val="FFFFFF"/>
                  </a:solidFill>
                  <a:effectLst/>
                  <a:uLnTx/>
                  <a:uFillTx/>
                  <a:latin typeface="Arial"/>
                  <a:ea typeface="+mn-ea"/>
                  <a:cs typeface="+mn-cs"/>
                </a:rPr>
                <a:t> Assessment</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grpSp>
        <p:nvGrpSpPr>
          <p:cNvPr id="124" name="Google Shape;124;g23f2d70337f_0_87"/>
          <p:cNvGrpSpPr/>
          <p:nvPr/>
        </p:nvGrpSpPr>
        <p:grpSpPr>
          <a:xfrm>
            <a:off x="4822388" y="2795608"/>
            <a:ext cx="1741322" cy="1214569"/>
            <a:chOff x="3771303" y="2571330"/>
            <a:chExt cx="3427800" cy="2056500"/>
          </a:xfrm>
        </p:grpSpPr>
        <p:sp>
          <p:nvSpPr>
            <p:cNvPr id="125" name="Google Shape;125;g23f2d70337f_0_87"/>
            <p:cNvSpPr/>
            <p:nvPr/>
          </p:nvSpPr>
          <p:spPr>
            <a:xfrm>
              <a:off x="3771303" y="2571330"/>
              <a:ext cx="3427800" cy="2056500"/>
            </a:xfrm>
            <a:prstGeom prst="rect">
              <a:avLst/>
            </a:prstGeom>
            <a:gradFill>
              <a:gsLst>
                <a:gs pos="0">
                  <a:srgbClr val="36B7D7"/>
                </a:gs>
                <a:gs pos="100000">
                  <a:srgbClr val="90EFFF"/>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26" name="Google Shape;126;g23f2d70337f_0_87"/>
            <p:cNvSpPr txBox="1"/>
            <p:nvPr/>
          </p:nvSpPr>
          <p:spPr>
            <a:xfrm>
              <a:off x="3771303"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User accessibility</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32"/>
        <p:cNvGrpSpPr/>
        <p:nvPr/>
      </p:nvGrpSpPr>
      <p:grpSpPr>
        <a:xfrm>
          <a:off x="0" y="0"/>
          <a:ext cx="0" cy="0"/>
          <a:chOff x="0" y="0"/>
          <a:chExt cx="0" cy="0"/>
        </a:xfrm>
      </p:grpSpPr>
      <p:sp>
        <p:nvSpPr>
          <p:cNvPr id="133" name="Google Shape;133;g23906be1acd_0_89"/>
          <p:cNvSpPr txBox="1"/>
          <p:nvPr/>
        </p:nvSpPr>
        <p:spPr>
          <a:xfrm>
            <a:off x="267025" y="1314325"/>
            <a:ext cx="8619300" cy="5479800"/>
          </a:xfrm>
          <a:prstGeom prst="rect">
            <a:avLst/>
          </a:prstGeom>
          <a:noFill/>
          <a:ln>
            <a:noFill/>
          </a:ln>
        </p:spPr>
        <p:txBody>
          <a:bodyPr spcFirstLastPara="1" wrap="square" lIns="91425" tIns="45700" rIns="91425" bIns="45700" anchor="t" anchorCtr="0">
            <a:spAutoFit/>
          </a:bodyPr>
          <a:lstStyle/>
          <a:p>
            <a:pPr marL="457200" marR="0" lvl="0" indent="-304800" algn="l" defTabSz="914400" rtl="0" eaLnBrk="1" fontAlgn="auto" latinLnBrk="0" hangingPunct="1">
              <a:lnSpc>
                <a:spcPct val="100000"/>
              </a:lnSpc>
              <a:spcBef>
                <a:spcPts val="300"/>
              </a:spcBef>
              <a:spcAft>
                <a:spcPts val="0"/>
              </a:spcAft>
              <a:buClr>
                <a:srgbClr val="000000"/>
              </a:buClr>
              <a:buSzPts val="1200"/>
              <a:buFontTx/>
              <a:buAutoNum type="arabicPeriod"/>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What was missing in the norm?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30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17 Sustainable Development Goals, launched after ISO20121;</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Need to reinforce reference to other normative (legal and policy) frameworks to avoid greenwashing and assist events. </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300"/>
              </a:spcBef>
              <a:spcAft>
                <a:spcPts val="0"/>
              </a:spcAft>
              <a:buClr>
                <a:srgbClr val="000000"/>
              </a:buClr>
              <a:buSzPts val="1200"/>
              <a:buFontTx/>
              <a:buAutoNum type="arabicPeriod"/>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How has it been addressed?</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3.2: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definition of </a:t>
            </a:r>
            <a:r>
              <a:rPr kumimoji="0" lang="en-US" sz="1200" b="1" i="0" u="none" strike="noStrike" kern="1200" cap="none" spc="0" normalizeH="0" baseline="0" noProof="0">
                <a:ln>
                  <a:noFill/>
                </a:ln>
                <a:solidFill>
                  <a:srgbClr val="000000"/>
                </a:solidFill>
                <a:effectLst/>
                <a:uLnTx/>
                <a:uFillTx/>
                <a:latin typeface="Arial"/>
                <a:ea typeface="+mn-ea"/>
                <a:cs typeface="+mn-cs"/>
              </a:rPr>
              <a:t>sustainability, </a:t>
            </a:r>
            <a:r>
              <a:rPr kumimoji="0" lang="en-US" sz="1200" b="0" i="0" u="none" strike="noStrike" kern="1200" cap="none" spc="0" normalizeH="0" baseline="0" noProof="0">
                <a:ln>
                  <a:noFill/>
                </a:ln>
                <a:solidFill>
                  <a:srgbClr val="000000"/>
                </a:solidFill>
                <a:effectLst/>
                <a:uLnTx/>
                <a:uFillTx/>
                <a:latin typeface="Arial"/>
                <a:ea typeface="+mn-ea"/>
                <a:cs typeface="+mn-cs"/>
              </a:rPr>
              <a:t>added</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Note 1 to entry: When considering sustainability, reference could be made to applicable normative and legal frameworks such as the UN Sustainable Development Goals (SDGs), See Annex A.</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3.3: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definition of </a:t>
            </a:r>
            <a:r>
              <a:rPr kumimoji="0" lang="en-US" sz="1200" b="1" i="0" u="none" strike="noStrike" kern="1200" cap="none" spc="0" normalizeH="0" baseline="0" noProof="0">
                <a:ln>
                  <a:noFill/>
                </a:ln>
                <a:solidFill>
                  <a:srgbClr val="000000"/>
                </a:solidFill>
                <a:effectLst/>
                <a:uLnTx/>
                <a:uFillTx/>
                <a:latin typeface="Arial"/>
                <a:ea typeface="+mn-ea"/>
                <a:cs typeface="+mn-cs"/>
              </a:rPr>
              <a:t>sustainable development</a:t>
            </a:r>
            <a:r>
              <a:rPr kumimoji="0" lang="en-US" sz="1200" b="0" i="0" u="none" strike="noStrike" kern="1200" cap="none" spc="0" normalizeH="0" baseline="0" noProof="0">
                <a:ln>
                  <a:noFill/>
                </a:ln>
                <a:solidFill>
                  <a:srgbClr val="000000"/>
                </a:solidFill>
                <a:effectLst/>
                <a:uLnTx/>
                <a:uFillTx/>
                <a:latin typeface="Arial"/>
                <a:ea typeface="+mn-ea"/>
                <a:cs typeface="+mn-cs"/>
              </a:rPr>
              <a:t>,  added Note 2 to entry: Depending on the activity considered, the entity could take into account the most relevant UN SDGs when defining its sustainable development policy.</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3.16: definition of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inclusivity. </a:t>
            </a:r>
            <a:r>
              <a:rPr kumimoji="0" lang="en-US" sz="1200" b="0" i="0" u="none" strike="noStrike" kern="1200" cap="none" spc="0" normalizeH="0" baseline="0" noProof="0">
                <a:ln>
                  <a:noFill/>
                </a:ln>
                <a:solidFill>
                  <a:srgbClr val="000000"/>
                </a:solidFill>
                <a:effectLst/>
                <a:uLnTx/>
                <a:uFillTx/>
                <a:latin typeface="Arial"/>
                <a:ea typeface="+mn-ea"/>
                <a:cs typeface="+mn-cs"/>
              </a:rPr>
              <a:t>Note 2 to entry: For further information, see ISO 53800 Guidelines for promotion and implementation of gender equality and women’s empowe</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rment </a:t>
            </a:r>
            <a:r>
              <a:rPr kumimoji="0" lang="en-US" sz="1200" b="0" i="0" u="none" strike="noStrike" kern="1200" cap="none" spc="0" normalizeH="0" baseline="0" noProof="0">
                <a:ln>
                  <a:noFill/>
                </a:ln>
                <a:solidFill>
                  <a:srgbClr val="FF0000"/>
                </a:solidFill>
                <a:effectLst/>
                <a:highlight>
                  <a:srgbClr val="FFFFFF"/>
                </a:highlight>
                <a:uLnTx/>
                <a:uFillTx/>
                <a:latin typeface="Arial"/>
                <a:ea typeface="+mn-ea"/>
                <a:cs typeface="+mn-cs"/>
              </a:rPr>
              <a:t>(ISO 53800 is currently in development by ISO/PC 337, and is at the Committee Draft stage)</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12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4.1  </a:t>
            </a:r>
            <a:r>
              <a:rPr kumimoji="0" lang="en-US" sz="1200" b="1" i="0" u="none" strike="noStrike" kern="1200" cap="none" spc="0" normalizeH="0" baseline="0" noProof="0">
                <a:ln>
                  <a:noFill/>
                </a:ln>
                <a:solidFill>
                  <a:srgbClr val="000000"/>
                </a:solidFill>
                <a:effectLst/>
                <a:uLnTx/>
                <a:uFillTx/>
                <a:latin typeface="Arial"/>
                <a:ea typeface="+mn-ea"/>
                <a:cs typeface="+mn-cs"/>
              </a:rPr>
              <a:t>Understanding the organization and its context: </a:t>
            </a:r>
            <a:r>
              <a:rPr kumimoji="0" lang="en-US" sz="1200" b="0" i="0" u="none" strike="noStrike" kern="1200" cap="none" spc="0" normalizeH="0" baseline="0" noProof="0">
                <a:ln>
                  <a:noFill/>
                </a:ln>
                <a:solidFill>
                  <a:srgbClr val="000000"/>
                </a:solidFill>
                <a:effectLst/>
                <a:uLnTx/>
                <a:uFillTx/>
                <a:latin typeface="Arial"/>
                <a:ea typeface="+mn-ea"/>
                <a:cs typeface="+mn-cs"/>
              </a:rPr>
              <a:t>Added: Note 1 to entry Consideration of the UN’s SDGs and other relevant frameworks can assist in determining the issues to be addressed. See Annex A.11</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12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6.1.2 Issue identification and evaluation. </a:t>
            </a:r>
            <a:r>
              <a:rPr kumimoji="0" lang="en-US" sz="1200" b="0" i="0" u="none" strike="noStrike" kern="1200" cap="none" spc="0" normalizeH="0" baseline="0" noProof="0">
                <a:ln>
                  <a:noFill/>
                </a:ln>
                <a:solidFill>
                  <a:srgbClr val="000000"/>
                </a:solidFill>
                <a:effectLst/>
                <a:uLnTx/>
                <a:uFillTx/>
                <a:latin typeface="Arial"/>
                <a:ea typeface="+mn-ea"/>
                <a:cs typeface="+mn-cs"/>
              </a:rPr>
              <a:t>Revised: NOTE 2 See Annex C for further guidance. The list of issues contained in Table C.1 is non-exhaustive. Event organisers, particularly major international events, are encouraged to consider a maximum of sustainability issues when developing their event management system</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l" defTabSz="914400" rtl="0" eaLnBrk="1" fontAlgn="auto" latinLnBrk="0" hangingPunct="1">
              <a:lnSpc>
                <a:spcPct val="100000"/>
              </a:lnSpc>
              <a:spcBef>
                <a:spcPts val="12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8.3. Supply Chain management. </a:t>
            </a:r>
            <a:r>
              <a:rPr kumimoji="0" lang="en-US" sz="1200" b="0" i="0" u="none" strike="noStrike" kern="1200" cap="none" spc="0" normalizeH="0" baseline="0" noProof="0">
                <a:ln>
                  <a:noFill/>
                </a:ln>
                <a:solidFill>
                  <a:srgbClr val="000000"/>
                </a:solidFill>
                <a:effectLst/>
                <a:uLnTx/>
                <a:uFillTx/>
                <a:latin typeface="Arial"/>
                <a:ea typeface="+mn-ea"/>
                <a:cs typeface="+mn-cs"/>
              </a:rPr>
              <a:t>Added: NOTE For further information on supply chain management, and on evaluations of suppliers’ performance post-events, see Annex B and ISO 20400 Sustainable procurement.</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120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300"/>
              </a:spcBef>
              <a:spcAft>
                <a:spcPts val="0"/>
              </a:spcAft>
              <a:buClr>
                <a:srgbClr val="000000"/>
              </a:buClr>
              <a:buSzPts val="1400"/>
              <a:buFont typeface="Arial"/>
              <a:buNone/>
              <a:tabLst/>
              <a:defRPr/>
            </a:pPr>
            <a:endParaRPr kumimoji="0" sz="1200" b="0" i="0" u="none" strike="noStrike" kern="1200" cap="none" spc="0" normalizeH="0" baseline="0" noProof="0">
              <a:ln>
                <a:noFill/>
              </a:ln>
              <a:solidFill>
                <a:srgbClr val="6D9EEB"/>
              </a:solidFill>
              <a:effectLst/>
              <a:uLnTx/>
              <a:uFillTx/>
              <a:latin typeface="Arial"/>
              <a:ea typeface="+mn-ea"/>
              <a:cs typeface="+mn-cs"/>
            </a:endParaRPr>
          </a:p>
        </p:txBody>
      </p:sp>
      <p:sp>
        <p:nvSpPr>
          <p:cNvPr id="134" name="Google Shape;134;g23906be1acd_0_89"/>
          <p:cNvSpPr txBox="1">
            <a:spLocks noGrp="1"/>
          </p:cNvSpPr>
          <p:nvPr>
            <p:ph type="title"/>
          </p:nvPr>
        </p:nvSpPr>
        <p:spPr>
          <a:xfrm>
            <a:off x="641350" y="544825"/>
            <a:ext cx="6038100" cy="517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900"/>
              <a:buFont typeface="Arial"/>
              <a:buNone/>
            </a:pPr>
            <a:r>
              <a:rPr lang="en-US" sz="2000">
                <a:solidFill>
                  <a:srgbClr val="D03F3B"/>
                </a:solidFill>
              </a:rPr>
              <a:t>Axis 1 : Global Sustainability Frameworks </a:t>
            </a:r>
            <a:endParaRPr sz="2000">
              <a:solidFill>
                <a:srgbClr val="D03F3B"/>
              </a:solidFill>
            </a:endParaRPr>
          </a:p>
        </p:txBody>
      </p:sp>
      <p:sp>
        <p:nvSpPr>
          <p:cNvPr id="135" name="Google Shape;135;g23906be1acd_0_89"/>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36" name="Google Shape;136;g23906be1acd_0_89"/>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137" name="Google Shape;137;g23906be1acd_0_89"/>
          <p:cNvGrpSpPr/>
          <p:nvPr/>
        </p:nvGrpSpPr>
        <p:grpSpPr>
          <a:xfrm>
            <a:off x="7145075" y="99745"/>
            <a:ext cx="1741335" cy="1214581"/>
            <a:chOff x="1844603" y="-2875906"/>
            <a:chExt cx="3427825" cy="2056521"/>
          </a:xfrm>
        </p:grpSpPr>
        <p:sp>
          <p:nvSpPr>
            <p:cNvPr id="138" name="Google Shape;138;g23906be1acd_0_89"/>
            <p:cNvSpPr/>
            <p:nvPr/>
          </p:nvSpPr>
          <p:spPr>
            <a:xfrm>
              <a:off x="1844628" y="-2875906"/>
              <a:ext cx="3427800" cy="2056500"/>
            </a:xfrm>
            <a:prstGeom prst="rect">
              <a:avLst/>
            </a:prstGeom>
            <a:gradFill>
              <a:gsLst>
                <a:gs pos="0">
                  <a:srgbClr val="D03F3B"/>
                </a:gs>
                <a:gs pos="100000">
                  <a:srgbClr val="FF9995"/>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39" name="Google Shape;139;g23906be1acd_0_89"/>
            <p:cNvSpPr txBox="1"/>
            <p:nvPr/>
          </p:nvSpPr>
          <p:spPr>
            <a:xfrm>
              <a:off x="1844603" y="-2875885"/>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Global Sustainability Frameworks (UN SDGs etc)</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45"/>
        <p:cNvGrpSpPr/>
        <p:nvPr/>
      </p:nvGrpSpPr>
      <p:grpSpPr>
        <a:xfrm>
          <a:off x="0" y="0"/>
          <a:ext cx="0" cy="0"/>
          <a:chOff x="0" y="0"/>
          <a:chExt cx="0" cy="0"/>
        </a:xfrm>
      </p:grpSpPr>
      <p:sp>
        <p:nvSpPr>
          <p:cNvPr id="146" name="Google Shape;146;g23906be1acd_0_98"/>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147" name="Google Shape;147;g23906be1acd_0_98"/>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900"/>
              <a:buFont typeface="Arial"/>
              <a:buNone/>
            </a:pPr>
            <a:r>
              <a:rPr lang="en-US" sz="2000">
                <a:solidFill>
                  <a:srgbClr val="D03F3B"/>
                </a:solidFill>
              </a:rPr>
              <a:t>Axis 1 : Global Sustainability Frameworks </a:t>
            </a:r>
            <a:endParaRPr/>
          </a:p>
        </p:txBody>
      </p:sp>
      <p:sp>
        <p:nvSpPr>
          <p:cNvPr id="148" name="Google Shape;148;g23906be1acd_0_98"/>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49" name="Google Shape;149;g23906be1acd_0_98"/>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150" name="Google Shape;150;g23906be1acd_0_98"/>
          <p:cNvGrpSpPr/>
          <p:nvPr/>
        </p:nvGrpSpPr>
        <p:grpSpPr>
          <a:xfrm>
            <a:off x="6998323" y="110743"/>
            <a:ext cx="1741335" cy="1037000"/>
            <a:chOff x="8251862" y="-3656720"/>
            <a:chExt cx="3427824" cy="2145221"/>
          </a:xfrm>
        </p:grpSpPr>
        <p:sp>
          <p:nvSpPr>
            <p:cNvPr id="151" name="Google Shape;151;g23906be1acd_0_98"/>
            <p:cNvSpPr/>
            <p:nvPr/>
          </p:nvSpPr>
          <p:spPr>
            <a:xfrm>
              <a:off x="8251862" y="-3567999"/>
              <a:ext cx="3427800" cy="2056500"/>
            </a:xfrm>
            <a:prstGeom prst="rect">
              <a:avLst/>
            </a:prstGeom>
            <a:gradFill>
              <a:gsLst>
                <a:gs pos="0">
                  <a:srgbClr val="D03F3B"/>
                </a:gs>
                <a:gs pos="100000">
                  <a:srgbClr val="FF9995"/>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52" name="Google Shape;152;g23906be1acd_0_98"/>
            <p:cNvSpPr txBox="1"/>
            <p:nvPr/>
          </p:nvSpPr>
          <p:spPr>
            <a:xfrm>
              <a:off x="8251886" y="-365672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Global Sustainability Frameworks (UN SDGs etc)</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153" name="Google Shape;153;g23906be1acd_0_98"/>
          <p:cNvSpPr txBox="1"/>
          <p:nvPr/>
        </p:nvSpPr>
        <p:spPr>
          <a:xfrm>
            <a:off x="398250" y="1061975"/>
            <a:ext cx="8447700" cy="5901300"/>
          </a:xfrm>
          <a:prstGeom prst="rect">
            <a:avLst/>
          </a:prstGeom>
          <a:noFill/>
          <a:ln>
            <a:noFill/>
          </a:ln>
        </p:spPr>
        <p:txBody>
          <a:bodyPr spcFirstLastPara="1" wrap="square" lIns="91425" tIns="91425" rIns="91425" bIns="91425" anchor="t" anchorCtr="0">
            <a:spAutoFit/>
          </a:bodyPr>
          <a:lstStyle/>
          <a:p>
            <a:pPr marL="457200" marR="0" lvl="0" indent="-304800" algn="l"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Revised Annex A.11 </a:t>
            </a:r>
            <a:r>
              <a:rPr kumimoji="0" lang="en-US" sz="1200" b="1" i="0" u="none" strike="noStrike" kern="1200" cap="none" spc="0" normalizeH="0" baseline="0" noProof="0">
                <a:ln>
                  <a:noFill/>
                </a:ln>
                <a:solidFill>
                  <a:srgbClr val="000000"/>
                </a:solidFill>
                <a:effectLst/>
                <a:uLnTx/>
                <a:uFillTx/>
                <a:latin typeface="Arial"/>
                <a:ea typeface="+mn-ea"/>
                <a:cs typeface="+mn-cs"/>
              </a:rPr>
              <a:t>Legal and other requirements</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Examples of other requirements to which the organization may subscribe include: Added: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4400" marR="0" lvl="1"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niversal accessibility codes and regulations.</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0" algn="just" defTabSz="914400" rtl="0" eaLnBrk="1" fontAlgn="auto" latinLnBrk="0" hangingPunct="1">
              <a:lnSpc>
                <a:spcPct val="100000"/>
              </a:lnSpc>
              <a:spcBef>
                <a:spcPts val="120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Added a list of </a:t>
            </a:r>
            <a:r>
              <a:rPr kumimoji="0" lang="en-US" sz="1200" b="0" i="0" u="none" strike="noStrike" kern="1200" cap="none" spc="0" normalizeH="0" baseline="0" noProof="0">
                <a:ln>
                  <a:noFill/>
                </a:ln>
                <a:solidFill>
                  <a:srgbClr val="000000"/>
                </a:solidFill>
                <a:effectLst/>
                <a:uLnTx/>
                <a:uFillTx/>
                <a:latin typeface="Arial"/>
                <a:ea typeface="+mn-ea"/>
                <a:cs typeface="+mn-cs"/>
              </a:rPr>
              <a:t>legal frameworks and guidance that may be relevant to the implementation of ISO 20121 including (non-exclusive):</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3130" marR="0" lvl="0" indent="-304800" algn="just" defTabSz="914400" rtl="0" eaLnBrk="1" fontAlgn="auto" latinLnBrk="0" hangingPunct="1">
              <a:lnSpc>
                <a:spcPct val="100000"/>
              </a:lnSpc>
              <a:spcBef>
                <a:spcPts val="120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UN Sustainable Development Goals (SDGs)</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3130" marR="0" lvl="0" indent="-304800" algn="l" defTabSz="914400" rtl="0" eaLnBrk="1" fontAlgn="auto" latinLnBrk="0" hangingPunct="1">
              <a:lnSpc>
                <a:spcPct val="100000"/>
              </a:lnSpc>
              <a:spcBef>
                <a:spcPts val="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nvention on the Rights of Persons with Disabilities (2006)</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3130" marR="0" lvl="0" indent="-304800" algn="just" defTabSz="914400" rtl="0" eaLnBrk="1" fontAlgn="auto" latinLnBrk="0" hangingPunct="1">
              <a:lnSpc>
                <a:spcPct val="100000"/>
              </a:lnSpc>
              <a:spcBef>
                <a:spcPts val="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nvention on the Elimination of All Forms of Discrimination against Women (1979)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3130" marR="0" lvl="0" indent="-304800" algn="just" defTabSz="914400" rtl="0" eaLnBrk="1" fontAlgn="auto" latinLnBrk="0" hangingPunct="1">
              <a:lnSpc>
                <a:spcPct val="100000"/>
              </a:lnSpc>
              <a:spcBef>
                <a:spcPts val="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nvention on the Rights of the Child (1989)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913130" marR="0" lvl="0" indent="-304800" algn="just" defTabSz="914400" rtl="0" eaLnBrk="1" fontAlgn="auto" latinLnBrk="0" hangingPunct="1">
              <a:lnSpc>
                <a:spcPct val="100000"/>
              </a:lnSpc>
              <a:spcBef>
                <a:spcPts val="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SO standards supporting the UN SDGs e.g. UN SDG no.1: ISO 20400 Sustainable procurement – Guidance </a:t>
            </a:r>
            <a:endParaRPr kumimoji="0" sz="1200" b="1" i="0" u="none" strike="noStrike" kern="1200" cap="none" spc="0" normalizeH="0" baseline="0" noProof="0">
              <a:ln>
                <a:noFill/>
              </a:ln>
              <a:solidFill>
                <a:srgbClr val="000000"/>
              </a:solidFill>
              <a:effectLst/>
              <a:highlight>
                <a:srgbClr val="FFFF00"/>
              </a:highligh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Annex C.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Table  C.1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List of issues for organizations to consider in fulfilling issue identification and evaluation, revised to includ</a:t>
            </a:r>
            <a:r>
              <a:rPr kumimoji="0" lang="en-US" sz="1200" b="0" i="0" u="none" strike="noStrike" kern="1200" cap="none" spc="0" normalizeH="0" baseline="0" noProof="0">
                <a:ln>
                  <a:noFill/>
                </a:ln>
                <a:solidFill>
                  <a:srgbClr val="000000"/>
                </a:solidFill>
                <a:effectLst/>
                <a:uLnTx/>
                <a:uFillTx/>
                <a:latin typeface="Arial"/>
                <a:ea typeface="+mn-ea"/>
                <a:cs typeface="+mn-cs"/>
              </a:rPr>
              <a:t>e:</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reference to </a:t>
            </a:r>
            <a:r>
              <a:rPr kumimoji="0" lang="en-US" sz="1200" b="0" i="0" u="none" strike="noStrike" kern="1200" cap="none" spc="0" normalizeH="0" baseline="0" noProof="0">
                <a:ln>
                  <a:noFill/>
                </a:ln>
                <a:solidFill>
                  <a:srgbClr val="000000"/>
                </a:solidFill>
                <a:effectLst/>
                <a:uLnTx/>
                <a:uFillTx/>
                <a:latin typeface="Arial"/>
                <a:ea typeface="+mn-ea"/>
                <a:cs typeface="+mn-cs"/>
              </a:rPr>
              <a:t>Human rights: rights inherent to all human beings, regardless of race, sex, nationality, ethnicity, language, religion, or any other status.</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Other references in the norm to global sustainability frameworks that remain unchanged include: </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914400" marR="0" lvl="1"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3.14 accessibility</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914400" marR="0" lvl="1"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3.20 </a:t>
            </a:r>
            <a:r>
              <a:rPr kumimoji="0" lang="en-US" sz="1200" b="0" i="0" u="none" strike="noStrike" kern="1200" cap="none" spc="0" normalizeH="0" baseline="0" noProof="0">
                <a:ln>
                  <a:noFill/>
                </a:ln>
                <a:solidFill>
                  <a:srgbClr val="000000"/>
                </a:solidFill>
                <a:effectLst/>
                <a:uLnTx/>
                <a:uFillTx/>
                <a:latin typeface="Arial"/>
                <a:ea typeface="+mn-ea"/>
                <a:cs typeface="+mn-cs"/>
              </a:rPr>
              <a:t>transparency</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914400" marR="0" lvl="1"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3.22 supply chain </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1" i="0" u="none" strike="noStrike" kern="1200" cap="none" spc="0" normalizeH="0" baseline="0" noProof="0">
              <a:ln>
                <a:noFill/>
              </a:ln>
              <a:solidFill>
                <a:srgbClr val="FF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FF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FF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FF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15000"/>
              </a:lnSpc>
              <a:spcBef>
                <a:spcPts val="300"/>
              </a:spcBef>
              <a:spcAft>
                <a:spcPts val="300"/>
              </a:spcAft>
              <a:buClr>
                <a:srgbClr val="000000"/>
              </a:buClr>
              <a:buSzPts val="1100"/>
              <a:buFont typeface="Arial"/>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0" name="Google Shape;160;g21718fd69ec_0_6"/>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161" name="Google Shape;161;g21718fd69ec_0_6"/>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900"/>
              <a:buFont typeface="Arial"/>
              <a:buNone/>
            </a:pPr>
            <a:r>
              <a:rPr lang="en-US" sz="2000">
                <a:solidFill>
                  <a:srgbClr val="D03F3B"/>
                </a:solidFill>
              </a:rPr>
              <a:t>Axis 1 : Global Sustainability Frameworks </a:t>
            </a:r>
            <a:endParaRPr/>
          </a:p>
        </p:txBody>
      </p:sp>
      <p:sp>
        <p:nvSpPr>
          <p:cNvPr id="162" name="Google Shape;162;g21718fd69ec_0_6"/>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63" name="Google Shape;163;g21718fd69ec_0_6"/>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164" name="Google Shape;164;g21718fd69ec_0_6"/>
          <p:cNvSpPr txBox="1"/>
          <p:nvPr/>
        </p:nvSpPr>
        <p:spPr>
          <a:xfrm>
            <a:off x="585225" y="1762450"/>
            <a:ext cx="7752900" cy="57777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b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b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SR:</a:t>
            </a: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Strengthen the legitimacy of the standard by harmonising it with the UN Sustainable Development Goals, on the issues that all event stakeholders wish to take into account.</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BR -SR: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Several updates are necessary for the standard to align with global best practices, new post-pandemic sector requirements and new standards, international agreements and Recommended Practices relevant to the events sector developed after the launch of ABNT NBR ISO 20121. 1. The 17 Sustainable Development Goals, launched after ISO20121;</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CH - SR 023:</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he standard needs to be linked with the UN Sustainable Develompent Goals (SDGs).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IT - SR 019:</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The ISO 20121 has relation with the future, so the only standard that manage future for SDG and Sustainability is ISO 17029.</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003</a:t>
            </a: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Global Frameworks. Need to align with and incorporate reference to current global sustainability frameworks, laws, goals &amp; reporting standards, potentially in an Annex and in Notes throughout the norm without making compliance with the specific framework a condition for certification. Proposed reference to frameworks that reinforce the linkage of the norm to the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UN SDG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UNFCCC Race to Zero,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relevant ISO standards e.g., ISO 26000, ISO 14001, ISO 37000</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highlight>
                <a:srgbClr val="FFFF00"/>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30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165" name="Google Shape;165;g21718fd69ec_0_6"/>
          <p:cNvGrpSpPr/>
          <p:nvPr/>
        </p:nvGrpSpPr>
        <p:grpSpPr>
          <a:xfrm>
            <a:off x="7145075" y="179419"/>
            <a:ext cx="1741335" cy="1269856"/>
            <a:chOff x="8313329" y="-3063131"/>
            <a:chExt cx="3427824" cy="2150113"/>
          </a:xfrm>
        </p:grpSpPr>
        <p:sp>
          <p:nvSpPr>
            <p:cNvPr id="166" name="Google Shape;166;g21718fd69ec_0_6"/>
            <p:cNvSpPr/>
            <p:nvPr/>
          </p:nvSpPr>
          <p:spPr>
            <a:xfrm>
              <a:off x="8313329" y="-2969518"/>
              <a:ext cx="3427800" cy="2056500"/>
            </a:xfrm>
            <a:prstGeom prst="rect">
              <a:avLst/>
            </a:prstGeom>
            <a:gradFill>
              <a:gsLst>
                <a:gs pos="0">
                  <a:srgbClr val="D03F3B"/>
                </a:gs>
                <a:gs pos="100000">
                  <a:srgbClr val="FF9995"/>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67" name="Google Shape;167;g21718fd69ec_0_6"/>
            <p:cNvSpPr txBox="1"/>
            <p:nvPr/>
          </p:nvSpPr>
          <p:spPr>
            <a:xfrm>
              <a:off x="8313353" y="-3063131"/>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Global Sustainability Frameworks (UN SDGs etc)</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sp>
        <p:nvSpPr>
          <p:cNvPr id="174" name="Google Shape;174;g21718fd69ec_0_278"/>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175" name="Google Shape;175;g21718fd69ec_0_278"/>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900"/>
              <a:buFont typeface="Arial"/>
              <a:buNone/>
            </a:pPr>
            <a:r>
              <a:rPr lang="en-US" sz="2000">
                <a:solidFill>
                  <a:srgbClr val="D03F3B"/>
                </a:solidFill>
              </a:rPr>
              <a:t>Axis 1 : Global Sustainability Frameworks </a:t>
            </a:r>
            <a:endParaRPr/>
          </a:p>
        </p:txBody>
      </p:sp>
      <p:sp>
        <p:nvSpPr>
          <p:cNvPr id="176" name="Google Shape;176;g21718fd69ec_0_278"/>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77" name="Google Shape;177;g21718fd69ec_0_278"/>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178" name="Google Shape;178;g21718fd69ec_0_278"/>
          <p:cNvSpPr txBox="1"/>
          <p:nvPr/>
        </p:nvSpPr>
        <p:spPr>
          <a:xfrm>
            <a:off x="726575" y="2370975"/>
            <a:ext cx="7012500" cy="4002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15000"/>
              </a:lnSpc>
              <a:spcBef>
                <a:spcPts val="300"/>
              </a:spcBef>
              <a:spcAft>
                <a:spcPts val="30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179" name="Google Shape;179;g21718fd69ec_0_278"/>
          <p:cNvGrpSpPr/>
          <p:nvPr/>
        </p:nvGrpSpPr>
        <p:grpSpPr>
          <a:xfrm>
            <a:off x="7010487" y="322282"/>
            <a:ext cx="1741335" cy="1214581"/>
            <a:chOff x="1844603" y="-2875906"/>
            <a:chExt cx="3427825" cy="2056521"/>
          </a:xfrm>
        </p:grpSpPr>
        <p:sp>
          <p:nvSpPr>
            <p:cNvPr id="180" name="Google Shape;180;g21718fd69ec_0_278"/>
            <p:cNvSpPr/>
            <p:nvPr/>
          </p:nvSpPr>
          <p:spPr>
            <a:xfrm>
              <a:off x="1844628" y="-2875906"/>
              <a:ext cx="3427800" cy="2056500"/>
            </a:xfrm>
            <a:prstGeom prst="rect">
              <a:avLst/>
            </a:prstGeom>
            <a:gradFill>
              <a:gsLst>
                <a:gs pos="0">
                  <a:srgbClr val="D03F3B"/>
                </a:gs>
                <a:gs pos="100000">
                  <a:srgbClr val="FF9995"/>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81" name="Google Shape;181;g21718fd69ec_0_278"/>
            <p:cNvSpPr txBox="1"/>
            <p:nvPr/>
          </p:nvSpPr>
          <p:spPr>
            <a:xfrm>
              <a:off x="1844603" y="-2875885"/>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Global Sustainability Frameworks (UN SDGs etc)</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182" name="Google Shape;182;g21718fd69ec_0_278"/>
          <p:cNvSpPr txBox="1"/>
          <p:nvPr/>
        </p:nvSpPr>
        <p:spPr>
          <a:xfrm>
            <a:off x="641350" y="1826063"/>
            <a:ext cx="7616400" cy="42144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012:</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Introduction. There is no reference to an international standard (SDG, Net Zero carbon events pledge and so on.) or Planetary boundarie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218: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4.5 There is no reference to any international standards or concepts, such as SDGs. We could add a reference in order to have a better integration of sustainability and to anchor ISO 20121 to international actions and global agreement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GB-SR 030: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lign with current global sustainability frameworks, goals &amp; reporting standards.  e.g., UN SDGs, UNFCC Race to Zero…Seek to align or reference other key sustainability standards. e.g., ISO 26000, ISO 14001, ISO 37000…</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uLnTx/>
                <a:uFillTx/>
                <a:latin typeface="Arial"/>
                <a:ea typeface="Arial"/>
                <a:cs typeface="Arial"/>
                <a:sym typeface="Arial"/>
              </a:rPr>
              <a:t>FR06:</a:t>
            </a: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 Role of the norm as a gatekeeper for sustainable events and organisations.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At the heart of the norm is the need to focus on the ‘why’, the purpose and impact of the event/organisation and not only on the ‘how’ an organisation is deemed sustainable.</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The norm deals essentially with ‘doing things right”, instead of also dealing with “doing the right things”. Focus is needed on the purpose, context, prioritisation of the most relevant themes and articulation between sustainable development and the </a:t>
            </a: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impact of an even</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t in the short, medium and long term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To ensure that the norm is utilised and promoted by </a:t>
            </a: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ethical, credible and sustainable organisations</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 and events, it is recommended that from the conception of the event to the legacy phases, strong </a:t>
            </a: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governance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requirements are made to ensure sustainabilit</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y is integrated within the regulations and culture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of the organisation. By ensuring transparency around governance, sustainability will not only be linked with communication but also the operational impact of the norm.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15000"/>
              </a:lnSpc>
              <a:spcBef>
                <a:spcPts val="0"/>
              </a:spcBef>
              <a:spcAft>
                <a:spcPts val="30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Google Shape;189;g23906be1acd_0_129"/>
          <p:cNvSpPr txBox="1"/>
          <p:nvPr/>
        </p:nvSpPr>
        <p:spPr>
          <a:xfrm>
            <a:off x="124150" y="1133725"/>
            <a:ext cx="8630400" cy="52719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What was missing in the norm?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30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Need to ensure reference to the impact and legacy of an event is included</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30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Need to enhance reference to social issues and frameworks</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How has it been addressed?</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3.18.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definition of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Legacy.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Revised </a:t>
            </a:r>
            <a:r>
              <a:rPr kumimoji="0" lang="en-US" sz="1200" b="0" i="0" u="none" strike="noStrike" kern="1200" cap="none" spc="0" normalizeH="0" baseline="0" noProof="0">
                <a:ln>
                  <a:noFill/>
                </a:ln>
                <a:solidFill>
                  <a:srgbClr val="000000"/>
                </a:solidFill>
                <a:effectLst/>
                <a:uLnTx/>
                <a:uFillTx/>
                <a:latin typeface="Arial"/>
                <a:ea typeface="+mn-ea"/>
                <a:cs typeface="+mn-cs"/>
              </a:rPr>
              <a:t>Note 1 to entry:	Hard legacy includes the enduring physical, economic, social and environmental impacts of an event or events. Note 2 to entry: Soft legacy also includes non-material elements, including new capacities acquired as a consequence of events, e.g. new knowledge, training, standards, best practices, skills, organizations (3.1), systems, relationships, partnerships and innovations. Note 3 to entry : Legacy includes planned and unplanned results of hosting an event on interested parties (3.15). Legacy may be of greater relevance to larger events and should be considered in the issue identification and evaluation (A.10).</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3.19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definition of </a:t>
            </a:r>
            <a:r>
              <a:rPr kumimoji="0" lang="en-US" sz="1200" b="1" i="0" u="none" strike="noStrike" kern="1200" cap="none" spc="0" normalizeH="0" baseline="0" noProof="0">
                <a:ln>
                  <a:noFill/>
                </a:ln>
                <a:solidFill>
                  <a:srgbClr val="000000"/>
                </a:solidFill>
                <a:effectLst/>
                <a:uLnTx/>
                <a:uFillTx/>
                <a:latin typeface="Arial"/>
                <a:ea typeface="+mn-ea"/>
                <a:cs typeface="+mn-cs"/>
              </a:rPr>
              <a:t>stewardship </a:t>
            </a:r>
            <a:r>
              <a:rPr kumimoji="0" lang="en-US" sz="1200" b="0" i="0" u="none" strike="noStrike" kern="1200" cap="none" spc="0" normalizeH="0" baseline="0" noProof="0">
                <a:ln>
                  <a:noFill/>
                </a:ln>
                <a:solidFill>
                  <a:srgbClr val="000000"/>
                </a:solidFill>
                <a:effectLst/>
                <a:uLnTx/>
                <a:uFillTx/>
                <a:latin typeface="Arial"/>
                <a:ea typeface="+mn-ea"/>
                <a:cs typeface="+mn-cs"/>
              </a:rPr>
              <a:t>revised: responsibility, management and care for sustainable development (3.1.3) shared by all those whose actions affect environmental performance, economic activity, and social progress, reflected as both a value and a practice by individuals, organizations (3.1.1), communities, and competent authorities</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3.42 </a:t>
            </a:r>
            <a:r>
              <a:rPr kumimoji="0" lang="en-US" sz="1200" b="0" i="0" u="none" strike="noStrike" kern="1200" cap="none" spc="0" normalizeH="0" baseline="0" noProof="0">
                <a:ln>
                  <a:noFill/>
                </a:ln>
                <a:solidFill>
                  <a:srgbClr val="000000"/>
                </a:solidFill>
                <a:effectLst/>
                <a:uLnTx/>
                <a:uFillTx/>
                <a:latin typeface="Arial"/>
                <a:ea typeface="+mn-ea"/>
                <a:cs typeface="+mn-cs"/>
              </a:rPr>
              <a:t>definition of </a:t>
            </a:r>
            <a:r>
              <a:rPr kumimoji="0" lang="en-US" sz="1200" b="1" i="0" u="none" strike="noStrike" kern="1200" cap="none" spc="0" normalizeH="0" baseline="0" noProof="0">
                <a:ln>
                  <a:noFill/>
                </a:ln>
                <a:solidFill>
                  <a:srgbClr val="000000"/>
                </a:solidFill>
                <a:effectLst/>
                <a:uLnTx/>
                <a:uFillTx/>
                <a:latin typeface="Arial"/>
                <a:ea typeface="+mn-ea"/>
                <a:cs typeface="+mn-cs"/>
              </a:rPr>
              <a:t>impact </a:t>
            </a:r>
            <a:r>
              <a:rPr kumimoji="0" lang="en-US" sz="1200" b="0" i="0" u="none" strike="noStrike" kern="1200" cap="none" spc="0" normalizeH="0" baseline="0" noProof="0">
                <a:ln>
                  <a:noFill/>
                </a:ln>
                <a:solidFill>
                  <a:srgbClr val="000000"/>
                </a:solidFill>
                <a:effectLst/>
                <a:uLnTx/>
                <a:uFillTx/>
                <a:latin typeface="Arial"/>
                <a:ea typeface="+mn-ea"/>
                <a:cs typeface="+mn-cs"/>
              </a:rPr>
              <a:t>revised: positive or negative change to the society, economy or the environment, wholly or partially, resulting from an organisation’s (3.1) past and present decisions and activities. Note 1 to entry: The impacts can be negative or positive, short-term or long-term, intended or unintended, and reversible or irreversible. Note 2 to entry: Society includes the host community and refers to the local population or those directly involved with the event.Note 3 to entry: see Annex C (Guidelines on Reporting).</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dded: 3.43 </a:t>
            </a:r>
            <a:r>
              <a:rPr kumimoji="0" lang="en-US" sz="1200" b="1" i="0" u="none" strike="noStrike" kern="1200" cap="none" spc="0" normalizeH="0" baseline="0" noProof="0">
                <a:ln>
                  <a:noFill/>
                </a:ln>
                <a:solidFill>
                  <a:srgbClr val="000000"/>
                </a:solidFill>
                <a:effectLst/>
                <a:uLnTx/>
                <a:uFillTx/>
                <a:latin typeface="Arial"/>
                <a:ea typeface="+mn-ea"/>
                <a:cs typeface="+mn-cs"/>
              </a:rPr>
              <a:t>Statement of Purpose. </a:t>
            </a:r>
            <a:r>
              <a:rPr kumimoji="0" lang="en-US" sz="1200" b="0" i="0" u="none" strike="noStrike" kern="1200" cap="none" spc="0" normalizeH="0" baseline="0" noProof="0">
                <a:ln>
                  <a:noFill/>
                </a:ln>
                <a:solidFill>
                  <a:srgbClr val="000000"/>
                </a:solidFill>
                <a:effectLst/>
                <a:uLnTx/>
                <a:uFillTx/>
                <a:latin typeface="Arial"/>
                <a:ea typeface="+mn-ea"/>
                <a:cs typeface="+mn-cs"/>
              </a:rPr>
              <a:t>A declaration of the organisation’s reason for existence.</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dded 3.44 </a:t>
            </a:r>
            <a:r>
              <a:rPr kumimoji="0" lang="en-US" sz="1200" b="1" i="0" u="none" strike="noStrike" kern="1200" cap="none" spc="0" normalizeH="0" baseline="0" noProof="0">
                <a:ln>
                  <a:noFill/>
                </a:ln>
                <a:solidFill>
                  <a:srgbClr val="000000"/>
                </a:solidFill>
                <a:effectLst/>
                <a:uLnTx/>
                <a:uFillTx/>
                <a:latin typeface="Arial"/>
                <a:ea typeface="+mn-ea"/>
                <a:cs typeface="+mn-cs"/>
              </a:rPr>
              <a:t>Mission statement. </a:t>
            </a:r>
            <a:r>
              <a:rPr kumimoji="0" lang="en-US" sz="1200" b="0" i="0" u="none" strike="noStrike" kern="1200" cap="none" spc="0" normalizeH="0" baseline="0" noProof="0">
                <a:ln>
                  <a:noFill/>
                </a:ln>
                <a:solidFill>
                  <a:srgbClr val="000000"/>
                </a:solidFill>
                <a:effectLst/>
                <a:uLnTx/>
                <a:uFillTx/>
                <a:latin typeface="Arial"/>
                <a:ea typeface="+mn-ea"/>
                <a:cs typeface="+mn-cs"/>
              </a:rPr>
              <a:t>Specifies what the organisation does to achieve its purpose and/or vision.</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20000"/>
              </a:lnSpc>
              <a:spcBef>
                <a:spcPts val="300"/>
              </a:spcBef>
              <a:spcAft>
                <a:spcPts val="0"/>
              </a:spcAft>
              <a:buClr>
                <a:srgbClr val="000000"/>
              </a:buClr>
              <a:buSzPts val="1400"/>
              <a:buFont typeface="Arial"/>
              <a:buNone/>
              <a:tabLst/>
              <a:defRPr/>
            </a:pPr>
            <a:endParaRPr kumimoji="0" sz="1200" b="0" i="0" u="none" strike="noStrike" kern="1200" cap="none" spc="0" normalizeH="0" baseline="0" noProof="0">
              <a:ln>
                <a:noFill/>
              </a:ln>
              <a:solidFill>
                <a:srgbClr val="6D9EEB"/>
              </a:solidFill>
              <a:effectLst/>
              <a:uLnTx/>
              <a:uFillTx/>
              <a:latin typeface="Arial"/>
              <a:ea typeface="+mn-ea"/>
              <a:cs typeface="+mn-cs"/>
            </a:endParaRPr>
          </a:p>
        </p:txBody>
      </p:sp>
      <p:sp>
        <p:nvSpPr>
          <p:cNvPr id="190" name="Google Shape;190;g23906be1acd_0_129"/>
          <p:cNvSpPr txBox="1">
            <a:spLocks noGrp="1"/>
          </p:cNvSpPr>
          <p:nvPr>
            <p:ph type="title"/>
          </p:nvPr>
        </p:nvSpPr>
        <p:spPr>
          <a:xfrm>
            <a:off x="641350" y="48427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p:txBody>
      </p:sp>
      <p:sp>
        <p:nvSpPr>
          <p:cNvPr id="191" name="Google Shape;191;g23906be1acd_0_129"/>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92" name="Google Shape;192;g23906be1acd_0_129"/>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193" name="Google Shape;193;g23906be1acd_0_129"/>
          <p:cNvGrpSpPr/>
          <p:nvPr/>
        </p:nvGrpSpPr>
        <p:grpSpPr>
          <a:xfrm>
            <a:off x="7297913" y="209482"/>
            <a:ext cx="1741322" cy="1266819"/>
            <a:chOff x="3565053" y="248015"/>
            <a:chExt cx="3427800" cy="2144969"/>
          </a:xfrm>
        </p:grpSpPr>
        <p:sp>
          <p:nvSpPr>
            <p:cNvPr id="194" name="Google Shape;194;g23906be1acd_0_129"/>
            <p:cNvSpPr/>
            <p:nvPr/>
          </p:nvSpPr>
          <p:spPr>
            <a:xfrm>
              <a:off x="3565053" y="248015"/>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95" name="Google Shape;195;g23906be1acd_0_129"/>
            <p:cNvSpPr txBox="1"/>
            <p:nvPr/>
          </p:nvSpPr>
          <p:spPr>
            <a:xfrm>
              <a:off x="3565053" y="336484"/>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Impact</a:t>
              </a:r>
              <a:r>
                <a:rPr kumimoji="0" lang="en-US" sz="1600" b="0" i="0" u="none" strike="noStrike" kern="1200" cap="none" spc="0" normalizeH="0" baseline="0" noProof="0">
                  <a:ln>
                    <a:noFill/>
                  </a:ln>
                  <a:solidFill>
                    <a:srgbClr val="FFFFFF"/>
                  </a:solidFill>
                  <a:effectLst/>
                  <a:uLnTx/>
                  <a:uFillTx/>
                  <a:latin typeface="Arial"/>
                  <a:ea typeface="+mn-ea"/>
                  <a:cs typeface="+mn-cs"/>
                </a:rPr>
                <a:t> Assessment</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01"/>
        <p:cNvGrpSpPr/>
        <p:nvPr/>
      </p:nvGrpSpPr>
      <p:grpSpPr>
        <a:xfrm>
          <a:off x="0" y="0"/>
          <a:ext cx="0" cy="0"/>
          <a:chOff x="0" y="0"/>
          <a:chExt cx="0" cy="0"/>
        </a:xfrm>
      </p:grpSpPr>
      <p:sp>
        <p:nvSpPr>
          <p:cNvPr id="202" name="Google Shape;202;g2390f5deff8_2_0"/>
          <p:cNvSpPr txBox="1"/>
          <p:nvPr/>
        </p:nvSpPr>
        <p:spPr>
          <a:xfrm>
            <a:off x="641350" y="1133725"/>
            <a:ext cx="7930500" cy="41637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How has it been addressed?</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4.1. </a:t>
            </a:r>
            <a:r>
              <a:rPr kumimoji="0" lang="en-US" sz="1200" b="1" i="0" u="none" strike="noStrike" kern="1200" cap="none" spc="0" normalizeH="0" baseline="0" noProof="0">
                <a:ln>
                  <a:noFill/>
                </a:ln>
                <a:solidFill>
                  <a:srgbClr val="000000"/>
                </a:solidFill>
                <a:effectLst/>
                <a:uLnTx/>
                <a:uFillTx/>
                <a:latin typeface="Arial"/>
                <a:ea typeface="+mn-ea"/>
                <a:cs typeface="+mn-cs"/>
              </a:rPr>
              <a:t>Understanding of the organization and its context</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Revised: [...] </a:t>
            </a:r>
            <a:r>
              <a:rPr kumimoji="0" lang="en-US" sz="1200" b="0" i="0" u="none" strike="noStrike" kern="1200" cap="none" spc="0" normalizeH="0" baseline="0" noProof="0">
                <a:ln>
                  <a:noFill/>
                </a:ln>
                <a:solidFill>
                  <a:srgbClr val="000000"/>
                </a:solidFill>
                <a:effectLst/>
                <a:uLnTx/>
                <a:uFillTx/>
                <a:latin typeface="Arial"/>
                <a:ea typeface="+mn-ea"/>
                <a:cs typeface="+mn-cs"/>
              </a:rPr>
              <a:t>This shall include consideration of its social, economic, and environmental impacts.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4.5 Sustainable development principles, statement of purpose and/or, mission and values. </a:t>
            </a:r>
            <a:r>
              <a:rPr kumimoji="0" lang="en-US" sz="1200" b="0" i="0" u="none" strike="noStrike" kern="1200" cap="none" spc="0" normalizeH="0" baseline="0" noProof="0">
                <a:ln>
                  <a:noFill/>
                </a:ln>
                <a:solidFill>
                  <a:srgbClr val="000000"/>
                </a:solidFill>
                <a:effectLst/>
                <a:uLnTx/>
                <a:uFillTx/>
                <a:latin typeface="Arial"/>
                <a:ea typeface="+mn-ea"/>
                <a:cs typeface="+mn-cs"/>
              </a:rPr>
              <a:t>Revised to [...]The organization shall define and include in documented information its primary purpose, mission, its social, environmental and economic benefits, and values with respect to its activities, products and services that relate specifically to events.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5.2 Policy.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new </a:t>
            </a: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e] </a:t>
            </a:r>
            <a:r>
              <a:rPr kumimoji="0" lang="en-US" sz="1200" b="0" i="0" u="none" strike="noStrike" kern="1200" cap="none" spc="0" normalizeH="0" baseline="0" noProof="0">
                <a:ln>
                  <a:noFill/>
                </a:ln>
                <a:solidFill>
                  <a:srgbClr val="000000"/>
                </a:solidFill>
                <a:effectLst/>
                <a:uLnTx/>
                <a:uFillTx/>
                <a:latin typeface="Arial"/>
                <a:ea typeface="+mn-ea"/>
                <a:cs typeface="+mn-cs"/>
              </a:rPr>
              <a:t>commitment to take in consideration the needs legacy issues; [NB: language needs to be corrected]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6.1.2 </a:t>
            </a:r>
            <a:r>
              <a:rPr kumimoji="0" lang="en-US" sz="1200" b="1" i="0" u="none" strike="noStrike" kern="1200" cap="none" spc="0" normalizeH="0" baseline="0" noProof="0">
                <a:ln>
                  <a:noFill/>
                </a:ln>
                <a:solidFill>
                  <a:srgbClr val="000000"/>
                </a:solidFill>
                <a:effectLst/>
                <a:uLnTx/>
                <a:uFillTx/>
                <a:latin typeface="Arial"/>
                <a:ea typeface="+mn-ea"/>
                <a:cs typeface="+mn-cs"/>
              </a:rPr>
              <a:t>Issue identification and evaluation. </a:t>
            </a:r>
            <a:r>
              <a:rPr kumimoji="0" lang="en-US" sz="1200" b="0" i="0" u="none" strike="noStrike" kern="1200" cap="none" spc="0" normalizeH="0" baseline="0" noProof="0">
                <a:ln>
                  <a:noFill/>
                </a:ln>
                <a:solidFill>
                  <a:srgbClr val="000000"/>
                </a:solidFill>
                <a:effectLst/>
                <a:uLnTx/>
                <a:uFillTx/>
                <a:latin typeface="Arial"/>
                <a:ea typeface="+mn-ea"/>
                <a:cs typeface="+mn-cs"/>
              </a:rPr>
              <a:t>Amended a) b) and c) with new</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NOTE 2. See Annex C for further guidance. The list of issues contained in Table C.1 is non-exhaustive. Event organisers, particularly major international events, are encouraged to consider a maximum of sustainability issues when developing their event management system.</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l" defTabSz="914400" rtl="0" eaLnBrk="1" fontAlgn="auto" latinLnBrk="0" hangingPunct="1">
              <a:lnSpc>
                <a:spcPct val="100000"/>
              </a:lnSpc>
              <a:spcBef>
                <a:spcPts val="3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6.2 Event sustainability objectives and planning to achieve them. </a:t>
            </a:r>
            <a:r>
              <a:rPr kumimoji="0" lang="en-US" sz="1200" b="0" i="0" u="none" strike="noStrike" kern="1200" cap="none" spc="0" normalizeH="0" baseline="0" noProof="0">
                <a:ln>
                  <a:noFill/>
                </a:ln>
                <a:solidFill>
                  <a:srgbClr val="000000"/>
                </a:solidFill>
                <a:effectLst/>
                <a:uLnTx/>
                <a:uFillTx/>
                <a:latin typeface="Arial"/>
                <a:ea typeface="+mn-ea"/>
                <a:cs typeface="+mn-cs"/>
              </a:rPr>
              <a:t>Revised ‘The event sustainability objectives shall:  e) be monitored;’ </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20000"/>
              </a:lnSpc>
              <a:spcBef>
                <a:spcPts val="1200"/>
              </a:spcBef>
              <a:spcAft>
                <a:spcPts val="0"/>
              </a:spcAft>
              <a:buClr>
                <a:srgbClr val="000000"/>
              </a:buClr>
              <a:buSzPts val="1400"/>
              <a:buFont typeface="Arial"/>
              <a:buNone/>
              <a:tabLst/>
              <a:defRPr/>
            </a:pPr>
            <a:endParaRPr kumimoji="0" sz="1200" b="0" i="0" u="none" strike="noStrike" kern="1200" cap="none" spc="0" normalizeH="0" baseline="0" noProof="0">
              <a:ln>
                <a:noFill/>
              </a:ln>
              <a:solidFill>
                <a:srgbClr val="6D9EEB"/>
              </a:solidFill>
              <a:effectLst/>
              <a:uLnTx/>
              <a:uFillTx/>
              <a:latin typeface="Arial"/>
              <a:ea typeface="+mn-ea"/>
              <a:cs typeface="+mn-cs"/>
            </a:endParaRPr>
          </a:p>
        </p:txBody>
      </p:sp>
      <p:sp>
        <p:nvSpPr>
          <p:cNvPr id="203" name="Google Shape;203;g2390f5deff8_2_0"/>
          <p:cNvSpPr txBox="1">
            <a:spLocks noGrp="1"/>
          </p:cNvSpPr>
          <p:nvPr>
            <p:ph type="title"/>
          </p:nvPr>
        </p:nvSpPr>
        <p:spPr>
          <a:xfrm>
            <a:off x="641350" y="48427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p:txBody>
      </p:sp>
      <p:sp>
        <p:nvSpPr>
          <p:cNvPr id="204" name="Google Shape;204;g2390f5deff8_2_0"/>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05" name="Google Shape;205;g2390f5deff8_2_0"/>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206" name="Google Shape;206;g2390f5deff8_2_0"/>
          <p:cNvGrpSpPr/>
          <p:nvPr/>
        </p:nvGrpSpPr>
        <p:grpSpPr>
          <a:xfrm>
            <a:off x="7402688" y="164570"/>
            <a:ext cx="1741322" cy="1214569"/>
            <a:chOff x="3771303" y="171969"/>
            <a:chExt cx="3427800" cy="2056500"/>
          </a:xfrm>
        </p:grpSpPr>
        <p:sp>
          <p:nvSpPr>
            <p:cNvPr id="207" name="Google Shape;207;g2390f5deff8_2_0"/>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08" name="Google Shape;208;g2390f5deff8_2_0"/>
            <p:cNvSpPr txBox="1"/>
            <p:nvPr/>
          </p:nvSpPr>
          <p:spPr>
            <a:xfrm>
              <a:off x="3771303" y="171969"/>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g23906be1acd_0_116"/>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216" name="Google Shape;216;g23906be1acd_0_116"/>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a:p>
            <a:pPr marL="0" lvl="0" indent="0" algn="l" rtl="0">
              <a:lnSpc>
                <a:spcPct val="100000"/>
              </a:lnSpc>
              <a:spcBef>
                <a:spcPts val="0"/>
              </a:spcBef>
              <a:spcAft>
                <a:spcPts val="0"/>
              </a:spcAft>
              <a:buClr>
                <a:schemeClr val="dk1"/>
              </a:buClr>
              <a:buSzPts val="2400"/>
              <a:buFont typeface="Arial"/>
              <a:buNone/>
            </a:pPr>
            <a:endParaRPr/>
          </a:p>
        </p:txBody>
      </p:sp>
      <p:sp>
        <p:nvSpPr>
          <p:cNvPr id="217" name="Google Shape;217;g23906be1acd_0_116"/>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18" name="Google Shape;218;g23906be1acd_0_116"/>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219" name="Google Shape;219;g23906be1acd_0_116"/>
          <p:cNvSpPr txBox="1"/>
          <p:nvPr/>
        </p:nvSpPr>
        <p:spPr>
          <a:xfrm>
            <a:off x="262050" y="1424100"/>
            <a:ext cx="7976700" cy="5487300"/>
          </a:xfrm>
          <a:prstGeom prst="rect">
            <a:avLst/>
          </a:prstGeom>
          <a:noFill/>
          <a:ln>
            <a:noFill/>
          </a:ln>
        </p:spPr>
        <p:txBody>
          <a:bodyPr spcFirstLastPara="1" wrap="square" lIns="91425" tIns="91425" rIns="91425" bIns="91425" anchor="t" anchorCtr="0">
            <a:spAutoFit/>
          </a:bodyPr>
          <a:lstStyle/>
          <a:p>
            <a:pPr marL="457200" marR="0" lvl="0" indent="-304800" algn="l" defTabSz="914400" rtl="0" eaLnBrk="1" fontAlgn="auto" latinLnBrk="0" hangingPunct="1">
              <a:lnSpc>
                <a:spcPct val="100000"/>
              </a:lnSpc>
              <a:spcBef>
                <a:spcPts val="3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7.4 Communication. </a:t>
            </a:r>
            <a:r>
              <a:rPr kumimoji="0" lang="en-US" sz="1200" b="0" i="0" u="none" strike="noStrike" kern="1200" cap="none" spc="0" normalizeH="0" baseline="0" noProof="0">
                <a:ln>
                  <a:noFill/>
                </a:ln>
                <a:solidFill>
                  <a:srgbClr val="000000"/>
                </a:solidFill>
                <a:effectLst/>
                <a:uLnTx/>
                <a:uFillTx/>
                <a:latin typeface="Arial"/>
                <a:ea typeface="+mn-ea"/>
                <a:cs typeface="+mn-cs"/>
              </a:rPr>
              <a:t>added new: The communications shall include, where appropriate, the following: g) progress in relation to performance; [...] NOTE: To ensure responsible communication, attention must be taken to ensure that there is no communication made that may mislead the public on the real environmental quality and social positive impact of a product or a service or on the reality of an organization's sustainable development approach, regardless of how it is communicated. See also Annex C.3 [Guidelines on Reporting]</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l" defTabSz="914400" rtl="0" eaLnBrk="1" fontAlgn="auto" latinLnBrk="0" hangingPunct="1">
              <a:lnSpc>
                <a:spcPct val="100000"/>
              </a:lnSpc>
              <a:spcBef>
                <a:spcPts val="1200"/>
              </a:spcBef>
              <a:spcAft>
                <a:spcPts val="0"/>
              </a:spcAft>
              <a:buClr>
                <a:srgbClr val="000000"/>
              </a:buClr>
              <a:buSzPts val="1200"/>
              <a:buFont typeface="Cambria"/>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9.1 Monitoring, measurement, analysis and evaluation.</a:t>
            </a:r>
            <a:r>
              <a:rPr kumimoji="0" lang="en-US" sz="1200" b="0" i="0" u="none" strike="noStrike" kern="1200" cap="none" spc="0" normalizeH="0" baseline="0" noProof="0">
                <a:ln>
                  <a:noFill/>
                </a:ln>
                <a:solidFill>
                  <a:srgbClr val="000000"/>
                </a:solidFill>
                <a:effectLst/>
                <a:uLnTx/>
                <a:uFillTx/>
                <a:latin typeface="Arial"/>
                <a:ea typeface="+mn-ea"/>
                <a:cs typeface="+mn-cs"/>
              </a:rPr>
              <a:t> Revised: The organization shall determine:[...] Documented information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shall be available as evidence of the results.</a:t>
            </a:r>
            <a:endParaRPr kumimoji="0" sz="12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l" defTabSz="914400" rtl="0" eaLnBrk="1" fontAlgn="auto" latinLnBrk="0" hangingPunct="1">
              <a:lnSpc>
                <a:spcPct val="100000"/>
              </a:lnSpc>
              <a:spcBef>
                <a:spcPts val="120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highlight>
                  <a:srgbClr val="FFFFFF"/>
                </a:highlight>
                <a:uLnTx/>
                <a:uFillTx/>
                <a:latin typeface="Arial"/>
                <a:ea typeface="+mn-ea"/>
                <a:cs typeface="+mn-cs"/>
              </a:rPr>
              <a:t>9.2.3 Perform</a:t>
            </a:r>
            <a:r>
              <a:rPr kumimoji="0" lang="en-US" sz="1200" b="1" i="0" u="none" strike="noStrike" kern="1200" cap="none" spc="0" normalizeH="0" baseline="0" noProof="0">
                <a:ln>
                  <a:noFill/>
                </a:ln>
                <a:solidFill>
                  <a:srgbClr val="000000"/>
                </a:solidFill>
                <a:effectLst/>
                <a:uLnTx/>
                <a:uFillTx/>
                <a:latin typeface="Arial"/>
                <a:ea typeface="+mn-ea"/>
                <a:cs typeface="+mn-cs"/>
              </a:rPr>
              <a:t>ance against governing principles of sustainable development. Revised: </a:t>
            </a:r>
            <a:r>
              <a:rPr kumimoji="0" lang="en-US" sz="1200" b="0" i="0" u="none" strike="noStrike" kern="1200" cap="none" spc="0" normalizeH="0" baseline="0" noProof="0">
                <a:ln>
                  <a:noFill/>
                </a:ln>
                <a:solidFill>
                  <a:srgbClr val="000000"/>
                </a:solidFill>
                <a:effectLst/>
                <a:uLnTx/>
                <a:uFillTx/>
                <a:latin typeface="Arial"/>
                <a:ea typeface="+mn-ea"/>
                <a:cs typeface="+mn-cs"/>
              </a:rPr>
              <a:t>NOTE 1 :</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Evaluations of performance may include future and current performance</a:t>
            </a: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200" b="1"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120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nex A. Table A.2 : </a:t>
            </a:r>
            <a:r>
              <a:rPr kumimoji="0" lang="en-US" sz="1200" b="1" i="0" u="none" strike="noStrike" kern="1200" cap="none" spc="0" normalizeH="0" baseline="0" noProof="0">
                <a:ln>
                  <a:noFill/>
                </a:ln>
                <a:solidFill>
                  <a:srgbClr val="000000"/>
                </a:solidFill>
                <a:effectLst/>
                <a:uLnTx/>
                <a:uFillTx/>
                <a:latin typeface="Arial"/>
                <a:ea typeface="+mn-ea"/>
                <a:cs typeface="+mn-cs"/>
              </a:rPr>
              <a:t>Integrity</a:t>
            </a:r>
            <a:r>
              <a:rPr kumimoji="0" lang="en-US" sz="1200" b="0" i="0" u="none" strike="noStrike" kern="1200" cap="none" spc="0" normalizeH="0" baseline="0" noProof="0">
                <a:ln>
                  <a:noFill/>
                </a:ln>
                <a:solidFill>
                  <a:srgbClr val="000000"/>
                </a:solidFill>
                <a:effectLst/>
                <a:uLnTx/>
                <a:uFillTx/>
                <a:latin typeface="Arial"/>
                <a:ea typeface="+mn-ea"/>
                <a:cs typeface="+mn-cs"/>
              </a:rPr>
              <a:t> revision from CH to be integrated. </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 typeface="Arial"/>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nex C. Table C.1 added </a:t>
            </a:r>
            <a:r>
              <a:rPr kumimoji="0" lang="en-US" sz="1200" b="1" i="0" u="none" strike="noStrike" kern="1200" cap="none" spc="0" normalizeH="0" baseline="0" noProof="0">
                <a:ln>
                  <a:noFill/>
                </a:ln>
                <a:solidFill>
                  <a:srgbClr val="000000"/>
                </a:solidFill>
                <a:effectLst/>
                <a:uLnTx/>
                <a:uFillTx/>
                <a:latin typeface="Arial"/>
                <a:ea typeface="+mn-ea"/>
                <a:cs typeface="+mn-cs"/>
              </a:rPr>
              <a:t>human rights.</a:t>
            </a:r>
            <a:endParaRPr kumimoji="0" sz="1200" b="1"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endParaRPr kumimoji="0" sz="1200" b="1" i="0" u="none" strike="noStrike" kern="1200" cap="none" spc="0" normalizeH="0" baseline="0" noProof="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nex C. added new </a:t>
            </a:r>
            <a:r>
              <a:rPr kumimoji="0" lang="en-US" sz="1200" b="1" i="0" u="none" strike="noStrike" kern="1200" cap="none" spc="0" normalizeH="0" baseline="0" noProof="0">
                <a:ln>
                  <a:noFill/>
                </a:ln>
                <a:solidFill>
                  <a:srgbClr val="000000"/>
                </a:solidFill>
                <a:effectLst/>
                <a:uLnTx/>
                <a:uFillTx/>
                <a:latin typeface="Arial"/>
                <a:ea typeface="+mn-ea"/>
                <a:cs typeface="+mn-cs"/>
              </a:rPr>
              <a:t>C.3 Guidelines for reporting [...] </a:t>
            </a:r>
            <a:r>
              <a:rPr kumimoji="0" lang="en-US" sz="1200" b="0" i="0" u="none" strike="noStrike" kern="1200" cap="none" spc="0" normalizeH="0" baseline="0" noProof="0">
                <a:ln>
                  <a:noFill/>
                </a:ln>
                <a:solidFill>
                  <a:srgbClr val="000000"/>
                </a:solidFill>
                <a:effectLst/>
                <a:uLnTx/>
                <a:uFillTx/>
                <a:latin typeface="Arial"/>
                <a:ea typeface="+mn-ea"/>
                <a:cs typeface="+mn-cs"/>
              </a:rPr>
              <a:t> If an organisation subscribes to a reporting regulation, it should report in compliance with it. Examples of international and regional reporting frameworks include (non-exclusively): the </a:t>
            </a:r>
            <a:r>
              <a:rPr kumimoji="0" lang="en-US" sz="1200" b="0" i="0" u="none" strike="noStrike" kern="1200" cap="none" spc="0" normalizeH="0" baseline="0" noProof="0">
                <a:ln>
                  <a:noFill/>
                </a:ln>
                <a:solidFill>
                  <a:srgbClr val="202124"/>
                </a:solidFill>
                <a:effectLst/>
                <a:highlight>
                  <a:srgbClr val="FFFFFF"/>
                </a:highlight>
                <a:uLnTx/>
                <a:uFillTx/>
                <a:latin typeface="Arial"/>
                <a:ea typeface="+mn-ea"/>
                <a:cs typeface="+mn-cs"/>
              </a:rPr>
              <a:t>GRI Sustainability Reporting Standards (GRI Standards),</a:t>
            </a:r>
            <a:r>
              <a:rPr kumimoji="0" lang="en-US" sz="1200" b="0" i="0" u="none" strike="noStrike" kern="1200" cap="none" spc="0" normalizeH="0" baseline="0" noProof="0">
                <a:ln>
                  <a:noFill/>
                </a:ln>
                <a:solidFill>
                  <a:srgbClr val="000000"/>
                </a:solidFill>
                <a:effectLst/>
                <a:uLnTx/>
                <a:uFillTx/>
                <a:latin typeface="Arial"/>
                <a:ea typeface="+mn-ea"/>
                <a:cs typeface="+mn-cs"/>
              </a:rPr>
              <a:t> for GHG emissions, refer to the "Net Zero Carbon Events" initiative (hosted by the Joint Meetings Industry Council and supported by UNFCCC), the UN SDGs, the UN FCCC Sports for Climate Action Framework, the </a:t>
            </a:r>
            <a:r>
              <a:rPr kumimoji="0" lang="en-US" sz="1200" b="0" i="0" u="none" strike="noStrike" kern="1200" cap="none" spc="0" normalizeH="0" baseline="0" noProof="0">
                <a:ln>
                  <a:noFill/>
                </a:ln>
                <a:solidFill>
                  <a:srgbClr val="202124"/>
                </a:solidFill>
                <a:effectLst/>
                <a:highlight>
                  <a:srgbClr val="FFFFFF"/>
                </a:highlight>
                <a:uLnTx/>
                <a:uFillTx/>
                <a:latin typeface="Arial"/>
                <a:ea typeface="+mn-ea"/>
                <a:cs typeface="+mn-cs"/>
              </a:rPr>
              <a:t>European Sustainability Reporting Standards (ESRS). [...]</a:t>
            </a:r>
            <a:endParaRPr kumimoji="0" sz="1200" b="1" i="0" u="none" strike="noStrike" kern="1200" cap="none" spc="0" normalizeH="0" baseline="0" noProof="0">
              <a:ln>
                <a:noFill/>
              </a:ln>
              <a:solidFill>
                <a:srgbClr val="000000"/>
              </a:solidFill>
              <a:effectLst/>
              <a:uLnTx/>
              <a:uFillTx/>
              <a:latin typeface="Arial"/>
              <a:ea typeface="+mn-ea"/>
              <a:cs typeface="+mn-cs"/>
            </a:endParaRPr>
          </a:p>
          <a:p>
            <a:pPr marL="45720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highlight>
                  <a:srgbClr val="FFFFFF"/>
                </a:highlight>
                <a:uLnTx/>
                <a:uFillTx/>
                <a:latin typeface="Arial"/>
                <a:ea typeface="+mn-ea"/>
                <a:cs typeface="+mn-cs"/>
              </a:rPr>
              <a:t>Other references in the norm to ESG impacts that remain unchanged include: </a:t>
            </a:r>
            <a:endParaRPr kumimoji="0" sz="12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3.31 performance </a:t>
            </a:r>
            <a:r>
              <a:rPr kumimoji="0" lang="en-US" sz="1200" b="0" i="0" u="none" strike="noStrike" kern="1200" cap="none" spc="0" normalizeH="0" baseline="0" noProof="0">
                <a:ln>
                  <a:noFill/>
                </a:ln>
                <a:solidFill>
                  <a:srgbClr val="000000"/>
                </a:solidFill>
                <a:effectLst/>
                <a:uLnTx/>
                <a:uFillTx/>
                <a:latin typeface="Arial"/>
                <a:ea typeface="+mn-ea"/>
                <a:cs typeface="+mn-cs"/>
              </a:rPr>
              <a:t>measurable result. Note 1 to entry:	Performance can relate either to quantitative or qualitative findings</a:t>
            </a:r>
            <a:endParaRPr kumimoji="0" sz="1200" b="0" i="0" u="none" strike="noStrike" kern="1200" cap="none" spc="0" normalizeH="0" baseline="0" noProof="0">
              <a:ln>
                <a:noFill/>
              </a:ln>
              <a:solidFill>
                <a:srgbClr val="000000"/>
              </a:solidFill>
              <a:effectLst/>
              <a:uLnTx/>
              <a:uFillTx/>
              <a:latin typeface="Arial"/>
              <a:ea typeface="+mn-ea"/>
              <a:cs typeface="+mn-cs"/>
            </a:endParaRPr>
          </a:p>
          <a:p>
            <a:pPr marL="0" marR="0" lvl="0" indent="-1270" algn="just"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200" b="1" i="0" u="none" strike="noStrike" kern="1200" cap="none" spc="0" normalizeH="0" baseline="0" noProof="0">
              <a:ln>
                <a:noFill/>
              </a:ln>
              <a:solidFill>
                <a:srgbClr val="000000"/>
              </a:solidFill>
              <a:effectLst/>
              <a:uLnTx/>
              <a:uFillTx/>
              <a:latin typeface="Arial"/>
              <a:ea typeface="+mn-ea"/>
              <a:cs typeface="+mn-cs"/>
            </a:endParaRPr>
          </a:p>
          <a:p>
            <a:pPr marL="0" marR="0" lvl="0" indent="-127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200" b="0" i="0" u="none" strike="noStrike" kern="1200" cap="none" spc="0" normalizeH="0" baseline="0" noProof="0">
              <a:ln>
                <a:noFill/>
              </a:ln>
              <a:solidFill>
                <a:srgbClr val="0070C0"/>
              </a:solidFill>
              <a:effectLst/>
              <a:uLnTx/>
              <a:uFillTx/>
              <a:latin typeface="Arial"/>
              <a:ea typeface="+mn-ea"/>
              <a:cs typeface="+mn-cs"/>
            </a:endParaRPr>
          </a:p>
        </p:txBody>
      </p:sp>
      <p:grpSp>
        <p:nvGrpSpPr>
          <p:cNvPr id="220" name="Google Shape;220;g23906be1acd_0_116"/>
          <p:cNvGrpSpPr/>
          <p:nvPr/>
        </p:nvGrpSpPr>
        <p:grpSpPr>
          <a:xfrm>
            <a:off x="7145074" y="164580"/>
            <a:ext cx="1741323" cy="897457"/>
            <a:chOff x="3771303" y="171969"/>
            <a:chExt cx="3427802" cy="2056500"/>
          </a:xfrm>
        </p:grpSpPr>
        <p:sp>
          <p:nvSpPr>
            <p:cNvPr id="221" name="Google Shape;221;g23906be1acd_0_116"/>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22" name="Google Shape;222;g23906be1acd_0_116"/>
            <p:cNvSpPr txBox="1"/>
            <p:nvPr/>
          </p:nvSpPr>
          <p:spPr>
            <a:xfrm>
              <a:off x="3771305" y="377788"/>
              <a:ext cx="3427800" cy="15576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8"/>
        <p:cNvGrpSpPr/>
        <p:nvPr/>
      </p:nvGrpSpPr>
      <p:grpSpPr>
        <a:xfrm>
          <a:off x="0" y="0"/>
          <a:ext cx="0" cy="0"/>
          <a:chOff x="0" y="0"/>
          <a:chExt cx="0" cy="0"/>
        </a:xfrm>
      </p:grpSpPr>
      <p:sp>
        <p:nvSpPr>
          <p:cNvPr id="229" name="Google Shape;229;g21718fd69ec_0_24"/>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230" name="Google Shape;230;g21718fd69ec_0_24"/>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a:p>
            <a:pPr marL="0" lvl="0" indent="0" algn="l" rtl="0">
              <a:lnSpc>
                <a:spcPct val="100000"/>
              </a:lnSpc>
              <a:spcBef>
                <a:spcPts val="0"/>
              </a:spcBef>
              <a:spcAft>
                <a:spcPts val="0"/>
              </a:spcAft>
              <a:buClr>
                <a:schemeClr val="dk1"/>
              </a:buClr>
              <a:buSzPts val="2400"/>
              <a:buFont typeface="Arial"/>
              <a:buNone/>
            </a:pPr>
            <a:endParaRPr/>
          </a:p>
        </p:txBody>
      </p:sp>
      <p:sp>
        <p:nvSpPr>
          <p:cNvPr id="231" name="Google Shape;231;g21718fd69ec_0_24"/>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32" name="Google Shape;232;g21718fd69ec_0_24"/>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233" name="Google Shape;233;g21718fd69ec_0_24"/>
          <p:cNvSpPr txBox="1"/>
          <p:nvPr/>
        </p:nvSpPr>
        <p:spPr>
          <a:xfrm>
            <a:off x="370800" y="1535638"/>
            <a:ext cx="8502600" cy="63324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Comments received: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004:</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Need to enhance reference to social issues and frameworks related to e.g.  universal accessibility, social impacts, legacy (short, mid, long term impact), engagement with state entities, youth, wellbeing, physical and mental health, citizens, quality of life, economic benefits, and alignment with state objectives (as often the principal funders of events), LGBTQIA,, Diversity, Equity and Inclusion (DEI) (see 6.1.2 for comprehensive list).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011</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Introduction. Need to reinforce the link with positive impacts and benefits of the event. Need to ensure that sustainability issues are (or should be) an essential prerequisite when considering the short, medium and long term impacts of the event or organisation..</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013. Introduction. We could add: “continual performance improvement, WHILE</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reducing negative impacts and aiming positive one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2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NO – SR 021</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 The standard should be considered revised to include:Climate actions supporting ISO London Declaration since this is considered to have a high impact on sustainability and climate</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CH Commen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07.03.23 via email): 3.42 impact Proposed definition:</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ffect an organization has or could have on the economy, environment, and society.</a:t>
            </a:r>
            <a:b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b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ote 1 to entry:  The impacts can be actual or potential, negative or positive, short-term or long-term, intended or unintended, and reversible or irreversible.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GB 101-105</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105: Update the “legacy” definition to read: resulting remains of an </a:t>
            </a:r>
            <a:r>
              <a:rPr kumimoji="0" lang="en-US" sz="1100" b="0" i="1"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vent</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3.1.4)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ote 1 to entry: Legacy includes the enduring physical, economic, social and environmental impacts of an event or events.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ote 2 to entry: Legacy also includes non-material elements, including new capacities acquired as a consequence of (because of – concise) events, (e.g. new knowledge, training, standards, best practices, skills, </a:t>
            </a:r>
            <a:r>
              <a:rPr kumimoji="0" lang="en-US" sz="1100" b="0" i="1"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organizations</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3.1.1) systems, relationships, partnerships and innovations.)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12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2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10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234" name="Google Shape;234;g21718fd69ec_0_24"/>
          <p:cNvGrpSpPr/>
          <p:nvPr/>
        </p:nvGrpSpPr>
        <p:grpSpPr>
          <a:xfrm>
            <a:off x="7145076" y="149620"/>
            <a:ext cx="1741322" cy="1214569"/>
            <a:chOff x="3771303" y="171969"/>
            <a:chExt cx="3427800" cy="2056500"/>
          </a:xfrm>
        </p:grpSpPr>
        <p:sp>
          <p:nvSpPr>
            <p:cNvPr id="235" name="Google Shape;235;g21718fd69ec_0_24"/>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36" name="Google Shape;236;g21718fd69ec_0_24"/>
            <p:cNvSpPr txBox="1"/>
            <p:nvPr/>
          </p:nvSpPr>
          <p:spPr>
            <a:xfrm>
              <a:off x="3771303" y="171969"/>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18731" y="450962"/>
            <a:ext cx="60486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GENDA </a:t>
            </a:r>
          </a:p>
        </p:txBody>
      </p:sp>
      <p:sp>
        <p:nvSpPr>
          <p:cNvPr id="5" name="TextBox 4">
            <a:extLst>
              <a:ext uri="{FF2B5EF4-FFF2-40B4-BE49-F238E27FC236}">
                <a16:creationId xmlns:a16="http://schemas.microsoft.com/office/drawing/2014/main" id="{F661A0BF-9455-5A10-1416-D15855A3A2FC}"/>
              </a:ext>
            </a:extLst>
          </p:cNvPr>
          <p:cNvSpPr txBox="1"/>
          <p:nvPr/>
        </p:nvSpPr>
        <p:spPr>
          <a:xfrm>
            <a:off x="395536" y="1412776"/>
            <a:ext cx="8424936"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WHAT YOU WILL GET FROM THIS MEETING ? </a:t>
            </a:r>
            <a:endPar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THE REVISION TIMELINE SO FAR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HOW THE REVISION HAS BEEN WORKED BY THE WG1</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WHAT ARE THE MAIN WORK AREAS/AXIS </a:t>
            </a:r>
            <a:endParaRPr kumimoji="0" lang="en-GB" sz="20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32937237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42"/>
        <p:cNvGrpSpPr/>
        <p:nvPr/>
      </p:nvGrpSpPr>
      <p:grpSpPr>
        <a:xfrm>
          <a:off x="0" y="0"/>
          <a:ext cx="0" cy="0"/>
          <a:chOff x="0" y="0"/>
          <a:chExt cx="0" cy="0"/>
        </a:xfrm>
      </p:grpSpPr>
      <p:sp>
        <p:nvSpPr>
          <p:cNvPr id="243" name="Google Shape;243;g21718fd69ec_0_419"/>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a:p>
            <a:pPr marL="0" lvl="0" indent="0" algn="l" rtl="0">
              <a:lnSpc>
                <a:spcPct val="100000"/>
              </a:lnSpc>
              <a:spcBef>
                <a:spcPts val="0"/>
              </a:spcBef>
              <a:spcAft>
                <a:spcPts val="0"/>
              </a:spcAft>
              <a:buClr>
                <a:schemeClr val="dk1"/>
              </a:buClr>
              <a:buSzPts val="2400"/>
              <a:buFont typeface="Arial"/>
              <a:buNone/>
            </a:pPr>
            <a:endParaRPr/>
          </a:p>
        </p:txBody>
      </p:sp>
      <p:sp>
        <p:nvSpPr>
          <p:cNvPr id="244" name="Google Shape;244;g21718fd69ec_0_419"/>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45" name="Google Shape;245;g21718fd69ec_0_419"/>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246" name="Google Shape;246;g21718fd69ec_0_419"/>
          <p:cNvSpPr txBox="1"/>
          <p:nvPr/>
        </p:nvSpPr>
        <p:spPr>
          <a:xfrm>
            <a:off x="370800" y="1664988"/>
            <a:ext cx="8502600" cy="28515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uLnTx/>
                <a:uFillTx/>
                <a:latin typeface="Arial"/>
                <a:ea typeface="Arial"/>
                <a:cs typeface="Arial"/>
                <a:sym typeface="Arial"/>
              </a:rPr>
              <a:t>GB </a:t>
            </a: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180.</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3.42. Group “Impact” under Terms related to Context (Clause 4)</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uLnTx/>
                <a:uFillTx/>
                <a:latin typeface="Arial"/>
                <a:ea typeface="Arial"/>
                <a:cs typeface="Arial"/>
                <a:sym typeface="Arial"/>
              </a:rPr>
              <a:t>GB </a:t>
            </a: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181</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Update the “impact” definition to read: positive or negative change to society, economy or the environment, wholly or partially resulting from past and present decisions and activitie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uLnTx/>
                <a:uFillTx/>
                <a:latin typeface="Arial"/>
                <a:ea typeface="Arial"/>
                <a:cs typeface="Arial"/>
                <a:sym typeface="Arial"/>
              </a:rPr>
              <a:t>CN </a:t>
            </a: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319.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Table  C.1. The issues in the table are not uniform, some are actions, some are impacts, and some are overlapping.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ropose to Reclassify  them with issues in ISO 26000 or SDGs.</a:t>
            </a:r>
            <a:endParaRPr kumimoji="0" sz="11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10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247" name="Google Shape;247;g21718fd69ec_0_419"/>
          <p:cNvGrpSpPr/>
          <p:nvPr/>
        </p:nvGrpSpPr>
        <p:grpSpPr>
          <a:xfrm>
            <a:off x="7132088" y="140095"/>
            <a:ext cx="1741322" cy="1214569"/>
            <a:chOff x="3771303" y="171969"/>
            <a:chExt cx="3427800" cy="2056500"/>
          </a:xfrm>
        </p:grpSpPr>
        <p:sp>
          <p:nvSpPr>
            <p:cNvPr id="248" name="Google Shape;248;g21718fd69ec_0_419"/>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49" name="Google Shape;249;g21718fd69ec_0_419"/>
            <p:cNvSpPr txBox="1"/>
            <p:nvPr/>
          </p:nvSpPr>
          <p:spPr>
            <a:xfrm>
              <a:off x="3771303" y="171969"/>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g21718fd69ec_0_310"/>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257" name="Google Shape;257;g21718fd69ec_0_310"/>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a:p>
            <a:pPr marL="0" lvl="0" indent="0" algn="l" rtl="0">
              <a:lnSpc>
                <a:spcPct val="100000"/>
              </a:lnSpc>
              <a:spcBef>
                <a:spcPts val="0"/>
              </a:spcBef>
              <a:spcAft>
                <a:spcPts val="0"/>
              </a:spcAft>
              <a:buClr>
                <a:schemeClr val="dk1"/>
              </a:buClr>
              <a:buSzPts val="2400"/>
              <a:buFont typeface="Arial"/>
              <a:buNone/>
            </a:pPr>
            <a:endParaRPr/>
          </a:p>
        </p:txBody>
      </p:sp>
      <p:sp>
        <p:nvSpPr>
          <p:cNvPr id="258" name="Google Shape;258;g21718fd69ec_0_310"/>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59" name="Google Shape;259;g21718fd69ec_0_310"/>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260" name="Google Shape;260;g21718fd69ec_0_310"/>
          <p:cNvSpPr txBox="1"/>
          <p:nvPr/>
        </p:nvSpPr>
        <p:spPr>
          <a:xfrm>
            <a:off x="370800" y="1777275"/>
            <a:ext cx="8502600" cy="3881100"/>
          </a:xfrm>
          <a:prstGeom prst="rect">
            <a:avLst/>
          </a:prstGeom>
          <a:noFill/>
          <a:ln>
            <a:noFill/>
          </a:ln>
        </p:spPr>
        <p:txBody>
          <a:bodyPr spcFirstLastPara="1" wrap="square" lIns="91425" tIns="91425" rIns="91425" bIns="91425" anchor="t" anchorCtr="0">
            <a:spAutoFit/>
          </a:bodyPr>
          <a:lstStyle/>
          <a:p>
            <a:pPr marL="0" marR="0" lvl="0" indent="0" algn="l" defTabSz="914400" rtl="0" eaLnBrk="1" fontAlgn="auto" latinLnBrk="0" hangingPunct="1">
              <a:lnSpc>
                <a:spcPct val="115000"/>
              </a:lnSpc>
              <a:spcBef>
                <a:spcPts val="10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void Greenwashing - to ensure ESG impacts are addressed both in procedures and in operation.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1"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08: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eed to better structure the audit process including reference to mandatory requirements of the norm, focus on the system and if possible, compliance with the system to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void greenwashing</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t>
            </a:r>
            <a:endParaRPr kumimoji="0"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DE-SR </a:t>
            </a:r>
            <a:r>
              <a:rPr kumimoji="0" lang="en-US" sz="1100" b="1"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25:</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he New Consumer Agenda (277) and the Circular Economy Action Plan 2020 (278) contain further proposals to combat greenwashing. The Commission is also working on initiatives such as establishing standards for certifying carbon removal (279).</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DE-SR </a:t>
            </a:r>
            <a:r>
              <a:rPr kumimoji="0" lang="en-US" sz="1100" b="1"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27:</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See Green Transition Consumer Empowerment Policy. The main goal of the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Sustainable Products Initiative (SPI)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is the introduction of sustainability requirements for products that are placed on the market and is thus aimed at suppliers and manufacturers. We would like to refer in particular to the following</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nnexes of the SPI: 2.2.A: Ban on general/vague environmental claims, impact on consumers</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 By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banning such vague claims (unless there is strong evidence of a product's environmental credentials)</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the option prevents consumers from making decisions based on unreliable information and also highlights which products are truly 'green'. The option should have a positive impact on consumer decision-making.</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DE-SR </a:t>
            </a:r>
            <a:r>
              <a:rPr kumimoji="0" lang="en-US" sz="1100" b="1"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28:</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he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uropean Commission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will better protect consumers from unfair commercial practices such as greenwashing, premature obsolescence of consumer goods or non-transparent voluntary sustainability labels and digital information tools that are incompatible with the green transition.</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DE-SR </a:t>
            </a:r>
            <a:r>
              <a:rPr kumimoji="0" lang="en-US" sz="1100" b="1"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29: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The European Commission has become aware of this topic and has already submitted initial proposals on how greenwashing can be curbed in the future. When revising the standard, it must therefore be ensured that it is in line with the objectives of the European Commission</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300"/>
              </a:spcAft>
              <a:buClr>
                <a:srgbClr val="000000"/>
              </a:buClr>
              <a:buSzPts val="1100"/>
              <a:buFont typeface="Arial"/>
              <a:buNone/>
              <a:tabLst/>
              <a:defRPr/>
            </a:pPr>
            <a:r>
              <a:rPr kumimoji="0" lang="en-US" sz="1100" b="1" i="0" u="sng" strike="noStrike" kern="1200" cap="none" spc="0" normalizeH="0" baseline="0" noProof="0">
                <a:ln>
                  <a:noFill/>
                </a:ln>
                <a:solidFill>
                  <a:srgbClr val="000000"/>
                </a:solidFill>
                <a:effectLst/>
                <a:uLnTx/>
                <a:uFillTx/>
                <a:latin typeface="Arial"/>
                <a:ea typeface="Arial"/>
                <a:cs typeface="Arial"/>
                <a:sym typeface="Arial"/>
              </a:rPr>
              <a:t>FR </a:t>
            </a:r>
            <a:r>
              <a:rPr kumimoji="0" lang="en-US" sz="1100" b="1" i="0" u="sng" strike="noStrike" kern="1200" cap="none" spc="0" normalizeH="0" baseline="0" noProof="0">
                <a:ln>
                  <a:noFill/>
                </a:ln>
                <a:solidFill>
                  <a:srgbClr val="FF0000"/>
                </a:solidFill>
                <a:effectLst/>
                <a:uLnTx/>
                <a:uFillTx/>
                <a:latin typeface="Arial"/>
                <a:ea typeface="Arial"/>
                <a:cs typeface="Arial"/>
                <a:sym typeface="Arial"/>
              </a:rPr>
              <a:t>273</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 7.4</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 We could add reference to responsible communication and prohibition of greenwashing. For instance, we may refer to ADEME documentation on responsible communication: https://librairie.ademe.fr/consommer-autrement/5818-le-guide-de-la-communication-responsable-nouvelle-edition-enrichie-9791029715730.html</a:t>
            </a:r>
            <a:endParaRPr kumimoji="0" sz="1100" b="0" i="0" u="none" strike="noStrike" kern="1200" cap="none" spc="0" normalizeH="0" baseline="0" noProof="0">
              <a:ln>
                <a:noFill/>
              </a:ln>
              <a:solidFill>
                <a:srgbClr val="FF0000"/>
              </a:solidFill>
              <a:effectLst/>
              <a:uLnTx/>
              <a:uFillTx/>
              <a:latin typeface="Arial"/>
              <a:ea typeface="Arial"/>
              <a:cs typeface="Arial"/>
              <a:sym typeface="Arial"/>
            </a:endParaRPr>
          </a:p>
        </p:txBody>
      </p:sp>
      <p:grpSp>
        <p:nvGrpSpPr>
          <p:cNvPr id="261" name="Google Shape;261;g21718fd69ec_0_310"/>
          <p:cNvGrpSpPr/>
          <p:nvPr/>
        </p:nvGrpSpPr>
        <p:grpSpPr>
          <a:xfrm>
            <a:off x="7145076" y="178195"/>
            <a:ext cx="1741322" cy="1214569"/>
            <a:chOff x="3771303" y="171969"/>
            <a:chExt cx="3427800" cy="2056500"/>
          </a:xfrm>
        </p:grpSpPr>
        <p:sp>
          <p:nvSpPr>
            <p:cNvPr id="262" name="Google Shape;262;g21718fd69ec_0_310"/>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63" name="Google Shape;263;g21718fd69ec_0_310"/>
            <p:cNvSpPr txBox="1"/>
            <p:nvPr/>
          </p:nvSpPr>
          <p:spPr>
            <a:xfrm>
              <a:off x="3771303" y="171969"/>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269"/>
        <p:cNvGrpSpPr/>
        <p:nvPr/>
      </p:nvGrpSpPr>
      <p:grpSpPr>
        <a:xfrm>
          <a:off x="0" y="0"/>
          <a:ext cx="0" cy="0"/>
          <a:chOff x="0" y="0"/>
          <a:chExt cx="0" cy="0"/>
        </a:xfrm>
      </p:grpSpPr>
      <p:sp>
        <p:nvSpPr>
          <p:cNvPr id="270" name="Google Shape;270;g21718fd69ec_0_107"/>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271" name="Google Shape;271;g21718fd69ec_0_107"/>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93C47D"/>
                </a:solidFill>
              </a:rPr>
              <a:t>Axis 2 : Impact Assessment </a:t>
            </a:r>
            <a:endParaRPr/>
          </a:p>
          <a:p>
            <a:pPr marL="0" lvl="0" indent="0" algn="l" rtl="0">
              <a:lnSpc>
                <a:spcPct val="100000"/>
              </a:lnSpc>
              <a:spcBef>
                <a:spcPts val="0"/>
              </a:spcBef>
              <a:spcAft>
                <a:spcPts val="0"/>
              </a:spcAft>
              <a:buClr>
                <a:schemeClr val="dk1"/>
              </a:buClr>
              <a:buSzPts val="2400"/>
              <a:buFont typeface="Arial"/>
              <a:buNone/>
            </a:pPr>
            <a:endParaRPr/>
          </a:p>
        </p:txBody>
      </p:sp>
      <p:sp>
        <p:nvSpPr>
          <p:cNvPr id="272" name="Google Shape;272;g21718fd69ec_0_107"/>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73" name="Google Shape;273;g21718fd69ec_0_107"/>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274" name="Google Shape;274;g21718fd69ec_0_107"/>
          <p:cNvSpPr txBox="1"/>
          <p:nvPr/>
        </p:nvSpPr>
        <p:spPr>
          <a:xfrm>
            <a:off x="502225" y="1858163"/>
            <a:ext cx="7917300" cy="30324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Human Rights</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GB- SR 030</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Enhance social impact considerations. e.g., Human &amp; child labour, local communities. </a:t>
            </a:r>
            <a:endParaRPr kumimoji="0" sz="11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BR -SR 017</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4. Increased human rights requirements based on guidance created by Unicef after ISO20121;</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GB 253</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 6.1.2: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Remove, ‘human rights, child rights, citizens, quality of life and replace with, ‘human and child rights’.  Remove ‘practices for people with disabilities, accessibility, youth wellbeing, legacy, engagement with state entities, alignment with state objective, LGBTQLA, Diversity, Equity and Inclusion (DEI), social impact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00"/>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30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00"/>
              </a:highlight>
              <a:uLnTx/>
              <a:uFillTx/>
              <a:latin typeface="Arial"/>
              <a:ea typeface="Arial"/>
              <a:cs typeface="Arial"/>
              <a:sym typeface="Arial"/>
            </a:endParaRPr>
          </a:p>
        </p:txBody>
      </p:sp>
      <p:grpSp>
        <p:nvGrpSpPr>
          <p:cNvPr id="275" name="Google Shape;275;g21718fd69ec_0_107"/>
          <p:cNvGrpSpPr/>
          <p:nvPr/>
        </p:nvGrpSpPr>
        <p:grpSpPr>
          <a:xfrm>
            <a:off x="7145076" y="168670"/>
            <a:ext cx="1741322" cy="1214569"/>
            <a:chOff x="3771303" y="171969"/>
            <a:chExt cx="3427800" cy="2056500"/>
          </a:xfrm>
        </p:grpSpPr>
        <p:sp>
          <p:nvSpPr>
            <p:cNvPr id="276" name="Google Shape;276;g21718fd69ec_0_107"/>
            <p:cNvSpPr/>
            <p:nvPr/>
          </p:nvSpPr>
          <p:spPr>
            <a:xfrm>
              <a:off x="3771303" y="171969"/>
              <a:ext cx="3427800" cy="2056500"/>
            </a:xfrm>
            <a:prstGeom prst="rect">
              <a:avLst/>
            </a:prstGeom>
            <a:gradFill>
              <a:gsLst>
                <a:gs pos="0">
                  <a:srgbClr val="A0C94A"/>
                </a:gs>
                <a:gs pos="100000">
                  <a:srgbClr val="DBFF9C"/>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77" name="Google Shape;277;g21718fd69ec_0_107"/>
            <p:cNvSpPr txBox="1"/>
            <p:nvPr/>
          </p:nvSpPr>
          <p:spPr>
            <a:xfrm>
              <a:off x="3771303" y="171969"/>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mn-ea"/>
                  <a:cs typeface="+mn-cs"/>
                </a:rPr>
                <a:t>Impact Assessment</a:t>
              </a:r>
              <a:endParaRPr kumimoji="0" sz="1600" b="0" i="0" u="none" strike="noStrike" kern="1200" cap="none" spc="0" normalizeH="0" baseline="0" noProof="0">
                <a:ln>
                  <a:noFill/>
                </a:ln>
                <a:solidFill>
                  <a:srgbClr val="FFFFFF"/>
                </a:solidFill>
                <a:effectLst/>
                <a:uLnTx/>
                <a:uFillTx/>
                <a:latin typeface="Arial"/>
                <a:ea typeface="+mn-ea"/>
                <a:cs typeface="+mn-cs"/>
              </a:endParaRPr>
            </a:p>
          </p:txBody>
        </p:sp>
      </p:gr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84" name="Google Shape;284;g23906be1acd_0_155"/>
          <p:cNvSpPr txBox="1"/>
          <p:nvPr/>
        </p:nvSpPr>
        <p:spPr>
          <a:xfrm>
            <a:off x="121200" y="1020975"/>
            <a:ext cx="9022800" cy="51642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What was missing in the norm? </a:t>
            </a: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Need to create a community around the norm</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Need to r</a:t>
            </a:r>
            <a:r>
              <a:rPr kumimoji="0" lang="en-US" sz="1100" b="0" i="0" u="none" strike="noStrike" kern="1200" cap="none" spc="0" normalizeH="0" baseline="0" noProof="0">
                <a:ln>
                  <a:noFill/>
                </a:ln>
                <a:solidFill>
                  <a:srgbClr val="000000"/>
                </a:solidFill>
                <a:effectLst/>
                <a:uLnTx/>
                <a:uFillTx/>
                <a:latin typeface="Arial"/>
                <a:ea typeface="+mn-ea"/>
                <a:cs typeface="+mn-cs"/>
              </a:rPr>
              <a:t>eflect a changing events sector, including hybrid &amp; virtual events; </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Need to ensure that the requirements of ISO 20121 remain relevant and applicable to a broad range of events &amp; events organisers (size and budget).</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How has it been addressed?</a:t>
            </a: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Task Force on Compliance to provide hopefully clarity around necessary documents for audit, number of audits etc. </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just" defTabSz="914400" rtl="0" eaLnBrk="1" fontAlgn="auto" latinLnBrk="0" hangingPunct="1">
              <a:lnSpc>
                <a:spcPct val="100000"/>
              </a:lnSpc>
              <a:spcBef>
                <a:spcPts val="300"/>
              </a:spcBef>
              <a:spcAft>
                <a:spcPts val="0"/>
              </a:spcAft>
              <a:buClr>
                <a:srgbClr val="000000"/>
              </a:buClr>
              <a:buSzPts val="1100"/>
              <a:buFontTx/>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3.7 event</a:t>
            </a:r>
            <a:endParaRPr kumimoji="0" sz="1100" b="1" i="0" u="none" strike="noStrike" kern="1200" cap="none" spc="0" normalizeH="0" baseline="0" noProof="0">
              <a:ln>
                <a:noFill/>
              </a:ln>
              <a:solidFill>
                <a:srgbClr val="000000"/>
              </a:solidFill>
              <a:effectLst/>
              <a:uLnTx/>
              <a:uFillTx/>
              <a:latin typeface="Arial"/>
              <a:ea typeface="+mn-ea"/>
              <a:cs typeface="+mn-cs"/>
            </a:endParaRPr>
          </a:p>
          <a:p>
            <a:pPr marL="45720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lanned physical, digital or hybrid</a:t>
            </a:r>
            <a:r>
              <a:rPr kumimoji="0" lang="en-US" sz="1100" b="1" i="0" u="none" strike="noStrike" kern="1200" cap="none" spc="0" normalizeH="0" baseline="0" noProof="0">
                <a:ln>
                  <a:noFill/>
                </a:ln>
                <a:solidFill>
                  <a:srgbClr val="000000"/>
                </a:solidFill>
                <a:effectLst/>
                <a:uLnTx/>
                <a:uFillTx/>
                <a:latin typeface="Arial"/>
                <a:ea typeface="+mn-ea"/>
                <a:cs typeface="+mn-cs"/>
              </a:rPr>
              <a:t> </a:t>
            </a:r>
            <a:r>
              <a:rPr kumimoji="0" lang="en-US" sz="1100" b="0" i="0" u="none" strike="noStrike" kern="1200" cap="none" spc="0" normalizeH="0" baseline="0" noProof="0">
                <a:ln>
                  <a:noFill/>
                </a:ln>
                <a:solidFill>
                  <a:srgbClr val="000000"/>
                </a:solidFill>
                <a:effectLst/>
                <a:uLnTx/>
                <a:uFillTx/>
                <a:latin typeface="Arial"/>
                <a:ea typeface="+mn-ea"/>
                <a:cs typeface="+mn-cs"/>
              </a:rPr>
              <a:t>gathering with respect to time and a place where an experience is created and/or a message is communicated</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just" defTabSz="914400" rtl="0" eaLnBrk="1" fontAlgn="auto" latinLnBrk="0" hangingPunct="1">
              <a:lnSpc>
                <a:spcPct val="100000"/>
              </a:lnSpc>
              <a:spcBef>
                <a:spcPts val="1200"/>
              </a:spcBef>
              <a:spcAft>
                <a:spcPts val="0"/>
              </a:spcAft>
              <a:buClr>
                <a:srgbClr val="000000"/>
              </a:buClr>
              <a:buSzPts val="1100"/>
              <a:buFontTx/>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4.2 </a:t>
            </a:r>
            <a:r>
              <a:rPr kumimoji="0" lang="en-US" sz="1100" b="1" i="0" u="none" strike="noStrike" kern="1200" cap="none" spc="0" normalizeH="0" baseline="0" noProof="0">
                <a:ln>
                  <a:noFill/>
                </a:ln>
                <a:solidFill>
                  <a:srgbClr val="000000"/>
                </a:solidFill>
                <a:effectLst/>
                <a:uLnTx/>
                <a:uFillTx/>
                <a:latin typeface="Arial"/>
                <a:ea typeface="+mn-ea"/>
                <a:cs typeface="+mn-cs"/>
              </a:rPr>
              <a:t>Understanding the needs and expectations of interested parties. </a:t>
            </a:r>
            <a:r>
              <a:rPr kumimoji="0" lang="en-US" sz="1100" b="0" i="0" u="none" strike="noStrike" kern="1200" cap="none" spc="0" normalizeH="0" baseline="0" noProof="0">
                <a:ln>
                  <a:noFill/>
                </a:ln>
                <a:solidFill>
                  <a:srgbClr val="000000"/>
                </a:solidFill>
                <a:effectLst/>
                <a:uLnTx/>
                <a:uFillTx/>
                <a:latin typeface="Arial"/>
                <a:ea typeface="+mn-ea"/>
                <a:cs typeface="+mn-cs"/>
              </a:rPr>
              <a:t>Revised: The organization shall detail document in documented information the outputs from its engagement with interested parties (see 7.3, 7.4 and 8.3) [...] including d) </a:t>
            </a: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partners; e) sponsors. Added new: </a:t>
            </a:r>
            <a:r>
              <a:rPr kumimoji="0" lang="en-US" sz="1100" b="0" i="0" u="none" strike="noStrike" kern="1200" cap="none" spc="0" normalizeH="0" baseline="0" noProof="0">
                <a:ln>
                  <a:noFill/>
                </a:ln>
                <a:solidFill>
                  <a:srgbClr val="000000"/>
                </a:solidFill>
                <a:effectLst/>
                <a:uLnTx/>
                <a:uFillTx/>
                <a:latin typeface="Arial"/>
                <a:ea typeface="+mn-ea"/>
                <a:cs typeface="+mn-cs"/>
              </a:rPr>
              <a:t>NOTE: engagement with interested parties may take different forms such as: verbal conversation, written correspondence, meetings, working groups, certification labels and Awards, progress plans.</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4.4     </a:t>
            </a:r>
            <a:r>
              <a:rPr kumimoji="0" lang="en-US" sz="1100" b="1" i="0" u="none" strike="noStrike" kern="1200" cap="none" spc="0" normalizeH="0" baseline="0" noProof="0">
                <a:ln>
                  <a:noFill/>
                </a:ln>
                <a:solidFill>
                  <a:srgbClr val="000000"/>
                </a:solidFill>
                <a:effectLst/>
                <a:uLnTx/>
                <a:uFillTx/>
                <a:latin typeface="Arial"/>
                <a:ea typeface="+mn-ea"/>
                <a:cs typeface="+mn-cs"/>
              </a:rPr>
              <a:t>Event sustainability management system. </a:t>
            </a:r>
            <a:r>
              <a:rPr kumimoji="0" lang="en-US" sz="1100" b="0" i="0" u="none" strike="noStrike" kern="1200" cap="none" spc="0" normalizeH="0" baseline="0" noProof="0">
                <a:ln>
                  <a:noFill/>
                </a:ln>
                <a:solidFill>
                  <a:srgbClr val="000000"/>
                </a:solidFill>
                <a:effectLst/>
                <a:uLnTx/>
                <a:uFillTx/>
                <a:latin typeface="Arial"/>
                <a:ea typeface="+mn-ea"/>
                <a:cs typeface="+mn-cs"/>
              </a:rPr>
              <a:t>New</a:t>
            </a:r>
            <a:r>
              <a:rPr kumimoji="0" lang="en-US" sz="1100" b="1" i="0" u="none" strike="noStrike" kern="1200" cap="none" spc="0" normalizeH="0" baseline="0" noProof="0">
                <a:ln>
                  <a:noFill/>
                </a:ln>
                <a:solidFill>
                  <a:srgbClr val="000000"/>
                </a:solidFill>
                <a:effectLst/>
                <a:uLnTx/>
                <a:uFillTx/>
                <a:latin typeface="Arial"/>
                <a:ea typeface="+mn-ea"/>
                <a:cs typeface="+mn-cs"/>
              </a:rPr>
              <a:t> </a:t>
            </a:r>
            <a:r>
              <a:rPr kumimoji="0" lang="en-US" sz="1100" b="0" i="0" u="none" strike="noStrike" kern="1200" cap="none" spc="0" normalizeH="0" baseline="0" noProof="0">
                <a:ln>
                  <a:noFill/>
                </a:ln>
                <a:solidFill>
                  <a:srgbClr val="000000"/>
                </a:solidFill>
                <a:effectLst/>
                <a:uLnTx/>
                <a:uFillTx/>
                <a:latin typeface="Arial"/>
                <a:ea typeface="+mn-ea"/>
                <a:cs typeface="+mn-cs"/>
              </a:rPr>
              <a:t>NOTE: Formalising all the processes for the Event Management System may be done, but is not compulsory.</a:t>
            </a: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             </a:t>
            </a: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7.1. Resources. </a:t>
            </a:r>
            <a:r>
              <a:rPr kumimoji="0" lang="en-US" sz="1100" b="0" i="0" u="none" strike="noStrike" kern="1200" cap="none" spc="0" normalizeH="0" baseline="0" noProof="0">
                <a:ln>
                  <a:noFill/>
                </a:ln>
                <a:solidFill>
                  <a:srgbClr val="000000"/>
                </a:solidFill>
                <a:effectLst/>
                <a:uLnTx/>
                <a:uFillTx/>
                <a:latin typeface="Arial"/>
                <a:ea typeface="+mn-ea"/>
                <a:cs typeface="+mn-cs"/>
              </a:rPr>
              <a:t>Amended: The organization shall determine and provide the resources needed for the establishment, implementation, maintenance and continual improvement of the event sustainability management system. </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Revised</a:t>
            </a: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 Annex A.11 Legal </a:t>
            </a: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and other requirements for inspiration and good practice (see Axe 1)</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914400" marR="0" lvl="0" indent="0" algn="just" defTabSz="914400" rtl="0" eaLnBrk="1" fontAlgn="auto" latinLnBrk="0" hangingPunct="1">
              <a:lnSpc>
                <a:spcPct val="100000"/>
              </a:lnSpc>
              <a:spcBef>
                <a:spcPts val="0"/>
              </a:spcBef>
              <a:spcAft>
                <a:spcPts val="0"/>
              </a:spcAft>
              <a:buClrTx/>
              <a:buSzTx/>
              <a:buFontTx/>
              <a:buNone/>
              <a:tabLst/>
              <a:defRPr/>
            </a:pP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References in the norm to assist in user accessibility that remain unchanged include: </a:t>
            </a:r>
            <a:endParaRPr kumimoji="0" sz="1100" b="1" i="0" u="none" strike="noStrike" kern="1200" cap="none" spc="0" normalizeH="0" baseline="0" noProof="0">
              <a:ln>
                <a:noFill/>
              </a:ln>
              <a:solidFill>
                <a:srgbClr val="000000"/>
              </a:solidFill>
              <a:effectLst/>
              <a:highlight>
                <a:srgbClr val="FFFF00"/>
              </a:highlight>
              <a:uLnTx/>
              <a:uFillTx/>
              <a:latin typeface="Arial"/>
              <a:ea typeface="+mn-ea"/>
              <a:cs typeface="+mn-cs"/>
            </a:endParaRPr>
          </a:p>
          <a:p>
            <a:pPr marL="914400" marR="0" lvl="1" indent="-298450" algn="just"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3.30 </a:t>
            </a:r>
            <a:r>
              <a:rPr kumimoji="0" lang="en-US" sz="1100" b="0" i="0" u="none" strike="noStrike" kern="1200" cap="none" spc="0" normalizeH="0" baseline="0" noProof="0">
                <a:ln>
                  <a:noFill/>
                </a:ln>
                <a:solidFill>
                  <a:srgbClr val="000000"/>
                </a:solidFill>
                <a:effectLst/>
                <a:uLnTx/>
                <a:uFillTx/>
                <a:latin typeface="Arial"/>
                <a:ea typeface="+mn-ea"/>
                <a:cs typeface="+mn-cs"/>
              </a:rPr>
              <a:t>documented information</a:t>
            </a:r>
            <a:endParaRPr kumimoji="0" sz="1100" b="0"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914400" marR="0" lvl="1" indent="-298450" algn="just"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6.2 </a:t>
            </a:r>
            <a:r>
              <a:rPr kumimoji="0" lang="en-US" sz="1100" b="0" i="0" u="none" strike="noStrike" kern="1200" cap="none" spc="0" normalizeH="0" baseline="0" noProof="0">
                <a:ln>
                  <a:noFill/>
                </a:ln>
                <a:solidFill>
                  <a:srgbClr val="000000"/>
                </a:solidFill>
                <a:effectLst/>
                <a:uLnTx/>
                <a:uFillTx/>
                <a:latin typeface="Arial"/>
                <a:ea typeface="+mn-ea"/>
                <a:cs typeface="+mn-cs"/>
              </a:rPr>
              <a:t>Event sustainability objectives and planning to achieve them</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914400" marR="0" lvl="1"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7.5 Documented information</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914400" marR="0" lvl="1"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8.1 Operational planning and control</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914400" marR="0" lvl="1" indent="-298450" algn="l" defTabSz="914400" rtl="0" eaLnBrk="1" fontAlgn="auto" latinLnBrk="0" hangingPunct="1">
              <a:lnSpc>
                <a:spcPct val="100000"/>
              </a:lnSpc>
              <a:spcBef>
                <a:spcPts val="0"/>
              </a:spcBef>
              <a:spcAft>
                <a:spcPts val="0"/>
              </a:spcAft>
              <a:buClr>
                <a:srgbClr val="000000"/>
              </a:buClr>
              <a:buSzPts val="1100"/>
              <a:buFontTx/>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A.16 Documented information </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1200"/>
              </a:spcBef>
              <a:spcAft>
                <a:spcPts val="0"/>
              </a:spcAft>
              <a:buClr>
                <a:srgbClr val="000000"/>
              </a:buClr>
              <a:buSzPts val="1400"/>
              <a:buFont typeface="Arial"/>
              <a:buNone/>
              <a:tabLst/>
              <a:defRPr/>
            </a:pPr>
            <a:endParaRPr kumimoji="0" sz="1100" b="0" i="0" u="none" strike="noStrike" kern="1200" cap="none" spc="0" normalizeH="0" baseline="0" noProof="0">
              <a:ln>
                <a:noFill/>
              </a:ln>
              <a:solidFill>
                <a:srgbClr val="6D9EEB"/>
              </a:solidFill>
              <a:effectLst/>
              <a:uLnTx/>
              <a:uFillTx/>
              <a:latin typeface="Arial"/>
              <a:ea typeface="+mn-ea"/>
              <a:cs typeface="+mn-cs"/>
            </a:endParaRPr>
          </a:p>
        </p:txBody>
      </p:sp>
      <p:sp>
        <p:nvSpPr>
          <p:cNvPr id="285" name="Google Shape;285;g23906be1acd_0_155"/>
          <p:cNvSpPr txBox="1">
            <a:spLocks noGrp="1"/>
          </p:cNvSpPr>
          <p:nvPr>
            <p:ph type="title"/>
          </p:nvPr>
        </p:nvSpPr>
        <p:spPr>
          <a:xfrm>
            <a:off x="641350" y="544825"/>
            <a:ext cx="64317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36B7D7"/>
                </a:solidFill>
              </a:rPr>
              <a:t>Axis 3 : User accessibility</a:t>
            </a:r>
            <a:endParaRPr>
              <a:solidFill>
                <a:srgbClr val="36B7D7"/>
              </a:solidFill>
            </a:endParaRPr>
          </a:p>
        </p:txBody>
      </p:sp>
      <p:sp>
        <p:nvSpPr>
          <p:cNvPr id="286" name="Google Shape;286;g23906be1acd_0_155"/>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287" name="Google Shape;287;g23906be1acd_0_155"/>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288" name="Google Shape;288;g23906be1acd_0_155"/>
          <p:cNvGrpSpPr/>
          <p:nvPr/>
        </p:nvGrpSpPr>
        <p:grpSpPr>
          <a:xfrm>
            <a:off x="7260788" y="50908"/>
            <a:ext cx="1741322" cy="1214569"/>
            <a:chOff x="3771303" y="2571330"/>
            <a:chExt cx="3427800" cy="2056500"/>
          </a:xfrm>
        </p:grpSpPr>
        <p:sp>
          <p:nvSpPr>
            <p:cNvPr id="289" name="Google Shape;289;g23906be1acd_0_155"/>
            <p:cNvSpPr/>
            <p:nvPr/>
          </p:nvSpPr>
          <p:spPr>
            <a:xfrm>
              <a:off x="3771303" y="2571330"/>
              <a:ext cx="3427800" cy="2056500"/>
            </a:xfrm>
            <a:prstGeom prst="rect">
              <a:avLst/>
            </a:prstGeom>
            <a:gradFill>
              <a:gsLst>
                <a:gs pos="0">
                  <a:srgbClr val="36B7D7"/>
                </a:gs>
                <a:gs pos="100000">
                  <a:srgbClr val="90EFFF"/>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290" name="Google Shape;290;g23906be1acd_0_155"/>
            <p:cNvSpPr txBox="1"/>
            <p:nvPr/>
          </p:nvSpPr>
          <p:spPr>
            <a:xfrm>
              <a:off x="3771303"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User accessibility</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96"/>
        <p:cNvGrpSpPr/>
        <p:nvPr/>
      </p:nvGrpSpPr>
      <p:grpSpPr>
        <a:xfrm>
          <a:off x="0" y="0"/>
          <a:ext cx="0" cy="0"/>
          <a:chOff x="0" y="0"/>
          <a:chExt cx="0" cy="0"/>
        </a:xfrm>
      </p:grpSpPr>
      <p:sp>
        <p:nvSpPr>
          <p:cNvPr id="297" name="Google Shape;297;g21718fd69ec_0_157"/>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298" name="Google Shape;298;g21718fd69ec_0_157"/>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36B7D7"/>
                </a:solidFill>
              </a:rPr>
              <a:t>Axis 3 : User accessibility</a:t>
            </a:r>
            <a:endParaRPr>
              <a:solidFill>
                <a:srgbClr val="36B7D7"/>
              </a:solidFill>
            </a:endParaRPr>
          </a:p>
          <a:p>
            <a:pPr marL="0" lvl="0" indent="0" algn="l" rtl="0">
              <a:lnSpc>
                <a:spcPct val="100000"/>
              </a:lnSpc>
              <a:spcBef>
                <a:spcPts val="0"/>
              </a:spcBef>
              <a:spcAft>
                <a:spcPts val="0"/>
              </a:spcAft>
              <a:buClr>
                <a:schemeClr val="dk1"/>
              </a:buClr>
              <a:buSzPts val="2400"/>
              <a:buFont typeface="Arial"/>
              <a:buNone/>
            </a:pPr>
            <a:endParaRPr sz="2000" b="0">
              <a:solidFill>
                <a:srgbClr val="36B7D7"/>
              </a:solidFill>
            </a:endParaRPr>
          </a:p>
        </p:txBody>
      </p:sp>
      <p:sp>
        <p:nvSpPr>
          <p:cNvPr id="299" name="Google Shape;299;g21718fd69ec_0_157"/>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00" name="Google Shape;300;g21718fd69ec_0_157"/>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301" name="Google Shape;301;g21718fd69ec_0_157"/>
          <p:cNvSpPr txBox="1"/>
          <p:nvPr/>
        </p:nvSpPr>
        <p:spPr>
          <a:xfrm>
            <a:off x="442000" y="1469925"/>
            <a:ext cx="8060400" cy="64302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GB-S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30</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Reflect a changing events sector, including hybrid &amp; virtual events;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nsure the requirements of ISO 20121 remain relevant and applicable to a broad range of events &amp; events organisers (size and budget).</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07</a:t>
            </a: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Make the norm more user friendly:</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nsure the requirements of ISO 20121 remain relevant and applicable to a broad range of events &amp; events organisers (size and budget).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Recommend to reinforce reference to the Annexes and include reinforced/supplementary Annexe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Streamline the standard to make it more understandable, readable and accessible to all organisations and especially those that wish to comply with it.</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Recommend to reinforce the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communication and community</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round ISO20121. Examples may be drawn from BCorp with an extensive list of organisations listed on BImpact but very few certified.</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Propose to establish a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ISO20121</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community</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with support, case studies and other thematic tools through more extensive Annexes and supporting documentation e.g. web platform online, project management tool, reporting tool.</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BR -S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17</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5. Increased reporting requirements to align with reporting standards such as UNDP;</a:t>
            </a:r>
            <a:b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b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6. Increase in annexes and guidelines for the sector, facilitating the implementation of the ISO 20121 standard for a wider audience and adapting to the ABNT standards referring to event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302.</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9.4.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here is no minimum for management review periodicity. It may be interesting to state a minimum to help certification candidate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CN – S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18: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2 The positioning of the revision should focus on providing overarching framework of the management system for managing events, instead of containing too many technical details that relate to certain specific sectors, e.g. expos, conferences, or sport games.</a:t>
            </a:r>
            <a:b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b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b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b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10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302" name="Google Shape;302;g21718fd69ec_0_157"/>
          <p:cNvGrpSpPr/>
          <p:nvPr/>
        </p:nvGrpSpPr>
        <p:grpSpPr>
          <a:xfrm>
            <a:off x="7145076" y="146933"/>
            <a:ext cx="1741322" cy="1214569"/>
            <a:chOff x="3771303" y="2571330"/>
            <a:chExt cx="3427800" cy="2056500"/>
          </a:xfrm>
        </p:grpSpPr>
        <p:sp>
          <p:nvSpPr>
            <p:cNvPr id="303" name="Google Shape;303;g21718fd69ec_0_157"/>
            <p:cNvSpPr/>
            <p:nvPr/>
          </p:nvSpPr>
          <p:spPr>
            <a:xfrm>
              <a:off x="3771303" y="2571330"/>
              <a:ext cx="3427800" cy="2056500"/>
            </a:xfrm>
            <a:prstGeom prst="rect">
              <a:avLst/>
            </a:prstGeom>
            <a:gradFill>
              <a:gsLst>
                <a:gs pos="0">
                  <a:srgbClr val="36B7D7"/>
                </a:gs>
                <a:gs pos="100000">
                  <a:srgbClr val="90EFFF"/>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04" name="Google Shape;304;g21718fd69ec_0_157"/>
            <p:cNvSpPr txBox="1"/>
            <p:nvPr/>
          </p:nvSpPr>
          <p:spPr>
            <a:xfrm>
              <a:off x="3771303"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User accessibility</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10"/>
        <p:cNvGrpSpPr/>
        <p:nvPr/>
      </p:nvGrpSpPr>
      <p:grpSpPr>
        <a:xfrm>
          <a:off x="0" y="0"/>
          <a:ext cx="0" cy="0"/>
          <a:chOff x="0" y="0"/>
          <a:chExt cx="0" cy="0"/>
        </a:xfrm>
      </p:grpSpPr>
      <p:sp>
        <p:nvSpPr>
          <p:cNvPr id="311" name="Google Shape;311;g21718fd69ec_0_171"/>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312" name="Google Shape;312;g21718fd69ec_0_171"/>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a:solidFill>
                  <a:srgbClr val="36B7D7"/>
                </a:solidFill>
              </a:rPr>
              <a:t>Axis 3 : User accessibility</a:t>
            </a:r>
            <a:endParaRPr>
              <a:solidFill>
                <a:srgbClr val="36B7D7"/>
              </a:solidFill>
            </a:endParaRPr>
          </a:p>
          <a:p>
            <a:pPr marL="0" lvl="0" indent="0" algn="l" rtl="0">
              <a:lnSpc>
                <a:spcPct val="100000"/>
              </a:lnSpc>
              <a:spcBef>
                <a:spcPts val="0"/>
              </a:spcBef>
              <a:spcAft>
                <a:spcPts val="0"/>
              </a:spcAft>
              <a:buClr>
                <a:schemeClr val="dk1"/>
              </a:buClr>
              <a:buSzPts val="2400"/>
              <a:buFont typeface="Arial"/>
              <a:buNone/>
            </a:pPr>
            <a:endParaRPr/>
          </a:p>
        </p:txBody>
      </p:sp>
      <p:sp>
        <p:nvSpPr>
          <p:cNvPr id="313" name="Google Shape;313;g21718fd69ec_0_171"/>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14" name="Google Shape;314;g21718fd69ec_0_171"/>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315" name="Google Shape;315;g21718fd69ec_0_171"/>
          <p:cNvGrpSpPr/>
          <p:nvPr/>
        </p:nvGrpSpPr>
        <p:grpSpPr>
          <a:xfrm>
            <a:off x="7240088" y="99758"/>
            <a:ext cx="1741322" cy="1214569"/>
            <a:chOff x="3771303" y="2571330"/>
            <a:chExt cx="3427800" cy="2056500"/>
          </a:xfrm>
        </p:grpSpPr>
        <p:sp>
          <p:nvSpPr>
            <p:cNvPr id="316" name="Google Shape;316;g21718fd69ec_0_171"/>
            <p:cNvSpPr/>
            <p:nvPr/>
          </p:nvSpPr>
          <p:spPr>
            <a:xfrm>
              <a:off x="3771303" y="2571330"/>
              <a:ext cx="3427800" cy="2056500"/>
            </a:xfrm>
            <a:prstGeom prst="rect">
              <a:avLst/>
            </a:prstGeom>
            <a:gradFill>
              <a:gsLst>
                <a:gs pos="0">
                  <a:srgbClr val="36B7D7"/>
                </a:gs>
                <a:gs pos="100000">
                  <a:srgbClr val="90EFFF"/>
                </a:gs>
              </a:gsLst>
              <a:lin ang="16200038" scaled="0"/>
            </a:gradFill>
            <a:ln>
              <a:noFill/>
            </a:ln>
            <a:effectLst>
              <a:outerShdw blurRad="40000" dist="23000" dir="5400000" rotWithShape="0">
                <a:srgbClr val="000000">
                  <a:alpha val="34509"/>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17" name="Google Shape;317;g21718fd69ec_0_171"/>
            <p:cNvSpPr txBox="1"/>
            <p:nvPr/>
          </p:nvSpPr>
          <p:spPr>
            <a:xfrm>
              <a:off x="3771303"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User accessibility</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318" name="Google Shape;318;g21718fd69ec_0_171"/>
          <p:cNvSpPr txBox="1"/>
          <p:nvPr/>
        </p:nvSpPr>
        <p:spPr>
          <a:xfrm>
            <a:off x="586275" y="1371025"/>
            <a:ext cx="8240400" cy="59178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uLnTx/>
                <a:uFillTx/>
                <a:latin typeface="Arial"/>
                <a:ea typeface="Arial"/>
                <a:cs typeface="Arial"/>
                <a:sym typeface="Arial"/>
              </a:rPr>
              <a:t>GB </a:t>
            </a: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208</a:t>
            </a:r>
            <a:r>
              <a:rPr kumimoji="0" lang="en-US" sz="1100" b="0" i="0" u="none" strike="noStrike" kern="1200" cap="none" spc="0" normalizeH="0" baseline="0" noProof="0">
                <a:ln>
                  <a:noFill/>
                </a:ln>
                <a:solidFill>
                  <a:srgbClr val="FF0000"/>
                </a:solidFill>
                <a:effectLst/>
                <a:uLnTx/>
                <a:uFillTx/>
                <a:latin typeface="Arial"/>
                <a:ea typeface="Arial"/>
                <a:cs typeface="Arial"/>
                <a:sym typeface="Arial"/>
              </a:rPr>
              <a:t>.</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Giving options of what forms the engagement might take could lead to auditors asking for evidence of these which could create additional work, particularly for small events.   Labels, engagement plans and progress plans are not terms used in the UK and would lead to confusion.  This paragraph does not assist the user and should be removed.Remove the paragraph, “Engagement with interested parties can take different forms such as working groups labels, engagement plans, progress plans.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see final 4.2.1]</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Additional points (beyond commenting template and requiring further discussion):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otential Tools available/to be developed: [ideas from earlier IPAMA reflections]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roject Management Tool for dialogue with ecosystem stakeholders (in particular for managing deadlines and measuring progress such as Trello, Scrum or Slack), and document sharing tools (such as Box, One Drive, Google Drive, DropBox).</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Integrated reporting on all issues (to avoid separate reporting). Online Reporting Framework based on ESG, Science Based Targets, Zero carbon footprint initiative, SDG Action Manager methodology [developed by UN Global Compact / B Corp], IOC Data Capture / ISO - carbon - energy - water - waste - etc.], allowing the feedback of information necessary for the implementation of corrective actions and reporting after the event (eg iAuditor).</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Customizable charts [dashboard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Monitoring of risk analyze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Legal register</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Identification of interested parties and their requirement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Management of the communication plan with interested partie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Follow-up of supplier evaluation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lanning and follow-up of audits (internal and external)</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lanning and follow-up of decisions taken in reviews and meetings</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Management of non-conformities</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p:txBody>
      </p:sp>
    </p:spTree>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Shape 324"/>
        <p:cNvGrpSpPr/>
        <p:nvPr/>
      </p:nvGrpSpPr>
      <p:grpSpPr>
        <a:xfrm>
          <a:off x="0" y="0"/>
          <a:ext cx="0" cy="0"/>
          <a:chOff x="0" y="0"/>
          <a:chExt cx="0" cy="0"/>
        </a:xfrm>
      </p:grpSpPr>
      <p:sp>
        <p:nvSpPr>
          <p:cNvPr id="325" name="Google Shape;325;g23f2d70337f_0_19"/>
          <p:cNvSpPr txBox="1"/>
          <p:nvPr/>
        </p:nvSpPr>
        <p:spPr>
          <a:xfrm>
            <a:off x="100511" y="1754407"/>
            <a:ext cx="9043500" cy="19239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none" strike="noStrike" kern="1200" cap="none" spc="0" normalizeH="0" baseline="0" noProof="0">
              <a:ln>
                <a:noFill/>
              </a:ln>
              <a:solidFill>
                <a:srgbClr val="674EA7"/>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What was missing in the norm?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Clarity on the audit process (number of documents necessary, number of audits)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eed to reinforce expertise of the auditors of the norm so not restricted to quality but sustainability in its broader sense.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mn-ea"/>
                <a:cs typeface="+mn-cs"/>
              </a:rPr>
              <a:t>How has it been addressed?</a:t>
            </a:r>
            <a:endParaRPr kumimoji="0" sz="1100" b="1" i="0" u="none" strike="noStrike" kern="1200" cap="none" spc="0" normalizeH="0" baseline="0" noProof="0">
              <a:ln>
                <a:noFill/>
              </a:ln>
              <a:solidFill>
                <a:srgbClr val="000000"/>
              </a:solidFill>
              <a:effectLst/>
              <a:highlight>
                <a:srgbClr val="FFFFFF"/>
              </a:highlight>
              <a:uLnTx/>
              <a:uFillTx/>
              <a:latin typeface="Arial"/>
              <a:ea typeface="+mn-ea"/>
              <a:cs typeface="+mn-cs"/>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Conformity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ask Force created</a:t>
            </a:r>
            <a:r>
              <a:rPr kumimoji="0" lang="en-US" sz="1100" b="0" i="0" u="none" strike="noStrike" kern="1200" cap="none" spc="0" normalizeH="0" baseline="0" noProof="0">
                <a:ln>
                  <a:noFill/>
                </a:ln>
                <a:solidFill>
                  <a:srgbClr val="000000"/>
                </a:solidFill>
                <a:effectLst/>
                <a:highlight>
                  <a:srgbClr val="FFFFFF"/>
                </a:highlight>
                <a:uLnTx/>
                <a:uFillTx/>
                <a:latin typeface="Arial"/>
                <a:ea typeface="+mn-ea"/>
                <a:cs typeface="+mn-cs"/>
              </a:rPr>
              <a:t> - chaired by the Swiss.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20000"/>
              </a:lnSpc>
              <a:spcBef>
                <a:spcPts val="30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6D9EEB"/>
              </a:solidFill>
              <a:effectLst/>
              <a:uLnTx/>
              <a:uFillTx/>
              <a:latin typeface="Arial"/>
              <a:ea typeface="Arial"/>
              <a:cs typeface="Arial"/>
              <a:sym typeface="Arial"/>
            </a:endParaRPr>
          </a:p>
        </p:txBody>
      </p:sp>
      <p:sp>
        <p:nvSpPr>
          <p:cNvPr id="326" name="Google Shape;326;g23f2d70337f_0_19"/>
          <p:cNvSpPr txBox="1">
            <a:spLocks noGrp="1"/>
          </p:cNvSpPr>
          <p:nvPr>
            <p:ph type="title"/>
          </p:nvPr>
        </p:nvSpPr>
        <p:spPr>
          <a:xfrm>
            <a:off x="641350" y="544825"/>
            <a:ext cx="6492300" cy="769500"/>
          </a:xfrm>
          <a:prstGeom prst="rect">
            <a:avLst/>
          </a:prstGeom>
          <a:noFill/>
          <a:ln>
            <a:noFill/>
          </a:ln>
        </p:spPr>
        <p:txBody>
          <a:bodyPr spcFirstLastPara="1" wrap="square" lIns="0" tIns="0" rIns="0" bIns="0" anchor="t" anchorCtr="0">
            <a:noAutofit/>
          </a:bodyPr>
          <a:lstStyle/>
          <a:p>
            <a:pPr marL="0" lvl="0" indent="0" algn="l" rtl="0">
              <a:lnSpc>
                <a:spcPct val="120000"/>
              </a:lnSpc>
              <a:spcBef>
                <a:spcPts val="0"/>
              </a:spcBef>
              <a:spcAft>
                <a:spcPts val="0"/>
              </a:spcAft>
              <a:buClr>
                <a:schemeClr val="dk1"/>
              </a:buClr>
              <a:buSzPts val="2000"/>
              <a:buFont typeface="Arial"/>
              <a:buNone/>
            </a:pPr>
            <a:r>
              <a:rPr lang="en-US" sz="2000" b="0">
                <a:solidFill>
                  <a:srgbClr val="674EA7"/>
                </a:solidFill>
              </a:rPr>
              <a:t>Axis 4 : Continual Improvement facilitation (audits)</a:t>
            </a:r>
            <a:endParaRPr/>
          </a:p>
        </p:txBody>
      </p:sp>
      <p:sp>
        <p:nvSpPr>
          <p:cNvPr id="327" name="Google Shape;327;g23f2d70337f_0_19"/>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28" name="Google Shape;328;g23f2d70337f_0_19"/>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329" name="Google Shape;329;g23f2d70337f_0_19"/>
          <p:cNvGrpSpPr/>
          <p:nvPr/>
        </p:nvGrpSpPr>
        <p:grpSpPr>
          <a:xfrm>
            <a:off x="7319537" y="254396"/>
            <a:ext cx="1741322" cy="1214569"/>
            <a:chOff x="878" y="2571330"/>
            <a:chExt cx="3427800" cy="2056500"/>
          </a:xfrm>
        </p:grpSpPr>
        <p:sp>
          <p:nvSpPr>
            <p:cNvPr id="330" name="Google Shape;330;g23f2d70337f_0_19"/>
            <p:cNvSpPr/>
            <p:nvPr/>
          </p:nvSpPr>
          <p:spPr>
            <a:xfrm>
              <a:off x="878" y="2571330"/>
              <a:ext cx="3427800" cy="2056500"/>
            </a:xfrm>
            <a:prstGeom prst="rect">
              <a:avLst/>
            </a:prstGeom>
            <a:gradFill>
              <a:gsLst>
                <a:gs pos="0">
                  <a:srgbClr val="7F5AAB"/>
                </a:gs>
                <a:gs pos="100000">
                  <a:srgbClr val="C7AEED"/>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31" name="Google Shape;331;g23f2d70337f_0_19"/>
            <p:cNvSpPr txBox="1"/>
            <p:nvPr/>
          </p:nvSpPr>
          <p:spPr>
            <a:xfrm>
              <a:off x="878"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Continual Improvement - Audit practices</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Shape 337"/>
        <p:cNvGrpSpPr/>
        <p:nvPr/>
      </p:nvGrpSpPr>
      <p:grpSpPr>
        <a:xfrm>
          <a:off x="0" y="0"/>
          <a:ext cx="0" cy="0"/>
          <a:chOff x="0" y="0"/>
          <a:chExt cx="0" cy="0"/>
        </a:xfrm>
      </p:grpSpPr>
      <p:sp>
        <p:nvSpPr>
          <p:cNvPr id="338" name="Google Shape;338;g23f2d70337f_0_31"/>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339" name="Google Shape;339;g23f2d70337f_0_31"/>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ISO/PC 250/WG 1</a:t>
            </a:r>
            <a:endParaRPr/>
          </a:p>
        </p:txBody>
      </p:sp>
      <p:sp>
        <p:nvSpPr>
          <p:cNvPr id="340" name="Google Shape;340;g23f2d70337f_0_31"/>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41" name="Google Shape;341;g23f2d70337f_0_31"/>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342" name="Google Shape;342;g23f2d70337f_0_31"/>
          <p:cNvGrpSpPr/>
          <p:nvPr/>
        </p:nvGrpSpPr>
        <p:grpSpPr>
          <a:xfrm>
            <a:off x="3701287" y="322296"/>
            <a:ext cx="1741322" cy="1214569"/>
            <a:chOff x="878" y="2571330"/>
            <a:chExt cx="3427800" cy="2056500"/>
          </a:xfrm>
        </p:grpSpPr>
        <p:sp>
          <p:nvSpPr>
            <p:cNvPr id="343" name="Google Shape;343;g23f2d70337f_0_31"/>
            <p:cNvSpPr/>
            <p:nvPr/>
          </p:nvSpPr>
          <p:spPr>
            <a:xfrm>
              <a:off x="878" y="2571330"/>
              <a:ext cx="3427800" cy="2056500"/>
            </a:xfrm>
            <a:prstGeom prst="rect">
              <a:avLst/>
            </a:prstGeom>
            <a:gradFill>
              <a:gsLst>
                <a:gs pos="0">
                  <a:srgbClr val="7F5AAB"/>
                </a:gs>
                <a:gs pos="100000">
                  <a:srgbClr val="C7AEED"/>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44" name="Google Shape;344;g23f2d70337f_0_31"/>
            <p:cNvSpPr txBox="1"/>
            <p:nvPr/>
          </p:nvSpPr>
          <p:spPr>
            <a:xfrm>
              <a:off x="878"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Continual Improvement - Audit practices</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345" name="Google Shape;345;g23f2d70337f_0_31"/>
          <p:cNvSpPr txBox="1"/>
          <p:nvPr/>
        </p:nvSpPr>
        <p:spPr>
          <a:xfrm>
            <a:off x="1408800" y="2445475"/>
            <a:ext cx="6261300" cy="31401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See final version of the norm for final approved text, namely: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1</a:t>
            </a:r>
            <a:endParaRPr kumimoji="0" sz="1100" b="1" i="0" u="none" strike="noStrike" kern="1200" cap="none" spc="0" normalizeH="0" baseline="0" noProof="0">
              <a:ln>
                <a:noFill/>
              </a:ln>
              <a:solidFill>
                <a:srgbClr val="000000"/>
              </a:solidFill>
              <a:effectLs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3.39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30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4.4</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5.1</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5.2</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6.1.1</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6.1.3</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6.3</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7.1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8.2</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9.1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9.2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9.3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10 		</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just"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nnex A. 	A.16 Documented information (see 7.5)</a:t>
            </a:r>
            <a:endParaRPr kumimoji="0"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spTree>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Shape 351"/>
        <p:cNvGrpSpPr/>
        <p:nvPr/>
      </p:nvGrpSpPr>
      <p:grpSpPr>
        <a:xfrm>
          <a:off x="0" y="0"/>
          <a:ext cx="0" cy="0"/>
          <a:chOff x="0" y="0"/>
          <a:chExt cx="0" cy="0"/>
        </a:xfrm>
      </p:grpSpPr>
      <p:sp>
        <p:nvSpPr>
          <p:cNvPr id="352" name="Google Shape;352;g23f2d70337f_0_44"/>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353" name="Google Shape;353;g23f2d70337f_0_44"/>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ISO/PC 250/WG 1</a:t>
            </a:r>
            <a:endParaRPr/>
          </a:p>
        </p:txBody>
      </p:sp>
      <p:sp>
        <p:nvSpPr>
          <p:cNvPr id="354" name="Google Shape;354;g23f2d70337f_0_44"/>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55" name="Google Shape;355;g23f2d70337f_0_44"/>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356" name="Google Shape;356;g23f2d70337f_0_44"/>
          <p:cNvSpPr txBox="1"/>
          <p:nvPr/>
        </p:nvSpPr>
        <p:spPr>
          <a:xfrm>
            <a:off x="493225" y="1685575"/>
            <a:ext cx="7761900" cy="20613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S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02: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Harmonise the evaluation criteria and the spirit of the standard in order to make audit practices more coherent.</a:t>
            </a:r>
            <a:endParaRPr kumimoji="0"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10: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Documentation: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Propose to provide reference to the minimum obligatory documents needed to conform with the norm requirement. Currently it is the interpretation of each individual auditor who specifies as to how many are required. A list could be provided in an Annex with the relevant clauses cited.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357" name="Google Shape;357;g23f2d70337f_0_44"/>
          <p:cNvGrpSpPr/>
          <p:nvPr/>
        </p:nvGrpSpPr>
        <p:grpSpPr>
          <a:xfrm>
            <a:off x="3701287" y="322296"/>
            <a:ext cx="1741322" cy="1214569"/>
            <a:chOff x="878" y="2571330"/>
            <a:chExt cx="3427800" cy="2056500"/>
          </a:xfrm>
        </p:grpSpPr>
        <p:sp>
          <p:nvSpPr>
            <p:cNvPr id="358" name="Google Shape;358;g23f2d70337f_0_44"/>
            <p:cNvSpPr/>
            <p:nvPr/>
          </p:nvSpPr>
          <p:spPr>
            <a:xfrm>
              <a:off x="878" y="2571330"/>
              <a:ext cx="3427800" cy="2056500"/>
            </a:xfrm>
            <a:prstGeom prst="rect">
              <a:avLst/>
            </a:prstGeom>
            <a:gradFill>
              <a:gsLst>
                <a:gs pos="0">
                  <a:srgbClr val="7F5AAB"/>
                </a:gs>
                <a:gs pos="100000">
                  <a:srgbClr val="C7AEED"/>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59" name="Google Shape;359;g23f2d70337f_0_44"/>
            <p:cNvSpPr txBox="1"/>
            <p:nvPr/>
          </p:nvSpPr>
          <p:spPr>
            <a:xfrm>
              <a:off x="878"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Continual Improvement - Audit practices</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Tree>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Shape 365"/>
        <p:cNvGrpSpPr/>
        <p:nvPr/>
      </p:nvGrpSpPr>
      <p:grpSpPr>
        <a:xfrm>
          <a:off x="0" y="0"/>
          <a:ext cx="0" cy="0"/>
          <a:chOff x="0" y="0"/>
          <a:chExt cx="0" cy="0"/>
        </a:xfrm>
      </p:grpSpPr>
      <p:sp>
        <p:nvSpPr>
          <p:cNvPr id="366" name="Google Shape;366;g23f2d70337f_0_57"/>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367" name="Google Shape;367;g23f2d70337f_0_57"/>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ISO/PC 250/WG 1</a:t>
            </a:r>
            <a:endParaRPr/>
          </a:p>
        </p:txBody>
      </p:sp>
      <p:sp>
        <p:nvSpPr>
          <p:cNvPr id="368" name="Google Shape;368;g23f2d70337f_0_57"/>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69" name="Google Shape;369;g23f2d70337f_0_57"/>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370" name="Google Shape;370;g23f2d70337f_0_57"/>
          <p:cNvSpPr txBox="1"/>
          <p:nvPr/>
        </p:nvSpPr>
        <p:spPr>
          <a:xfrm>
            <a:off x="493225" y="1685575"/>
            <a:ext cx="7761900" cy="3540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p:txBody>
      </p:sp>
      <p:grpSp>
        <p:nvGrpSpPr>
          <p:cNvPr id="371" name="Google Shape;371;g23f2d70337f_0_57"/>
          <p:cNvGrpSpPr/>
          <p:nvPr/>
        </p:nvGrpSpPr>
        <p:grpSpPr>
          <a:xfrm>
            <a:off x="3701287" y="322296"/>
            <a:ext cx="1741322" cy="1214569"/>
            <a:chOff x="878" y="2571330"/>
            <a:chExt cx="3427800" cy="2056500"/>
          </a:xfrm>
        </p:grpSpPr>
        <p:sp>
          <p:nvSpPr>
            <p:cNvPr id="372" name="Google Shape;372;g23f2d70337f_0_57"/>
            <p:cNvSpPr/>
            <p:nvPr/>
          </p:nvSpPr>
          <p:spPr>
            <a:xfrm>
              <a:off x="878" y="2571330"/>
              <a:ext cx="3427800" cy="2056500"/>
            </a:xfrm>
            <a:prstGeom prst="rect">
              <a:avLst/>
            </a:prstGeom>
            <a:gradFill>
              <a:gsLst>
                <a:gs pos="0">
                  <a:srgbClr val="7F5AAB"/>
                </a:gs>
                <a:gs pos="100000">
                  <a:srgbClr val="C7AEED"/>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73" name="Google Shape;373;g23f2d70337f_0_57"/>
            <p:cNvSpPr txBox="1"/>
            <p:nvPr/>
          </p:nvSpPr>
          <p:spPr>
            <a:xfrm>
              <a:off x="878"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Continual Improvement - Audit practices</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374" name="Google Shape;374;g23f2d70337f_0_57"/>
          <p:cNvSpPr txBox="1"/>
          <p:nvPr/>
        </p:nvSpPr>
        <p:spPr>
          <a:xfrm>
            <a:off x="614250" y="1536875"/>
            <a:ext cx="8015700" cy="44025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008: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udits: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Propose a more defined scope and clearer audit procedure.</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30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Harmonise the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valuation criteria</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and i</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mpact measurement</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with the spirit of the standard in order to make audit practices more coherent.</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Need to better structure the audit process including reference to mandatory requirements of the norm, focus on the system and if possible, compliance with the system to avoid greenwashing.</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Potentially refer to </a:t>
            </a:r>
            <a:r>
              <a:rPr kumimoji="0" lang="en-US" sz="1100" b="1" i="0" u="none" strike="noStrike" kern="1200" cap="none" spc="0" normalizeH="0" baseline="0" noProof="0">
                <a:ln>
                  <a:noFill/>
                </a:ln>
                <a:solidFill>
                  <a:srgbClr val="404040"/>
                </a:solidFill>
                <a:effectLst/>
                <a:highlight>
                  <a:srgbClr val="FFFFFF"/>
                </a:highlight>
                <a:uLnTx/>
                <a:uFillTx/>
                <a:latin typeface="Arial"/>
                <a:ea typeface="Arial"/>
                <a:cs typeface="Arial"/>
                <a:sym typeface="Arial"/>
              </a:rPr>
              <a:t>ISO 19011:2018(en) </a:t>
            </a:r>
            <a:r>
              <a:rPr kumimoji="0" lang="en-US" sz="1100" b="0" i="0" u="none" strike="noStrike" kern="1200" cap="none" spc="0" normalizeH="0" baseline="0" noProof="0">
                <a:ln>
                  <a:noFill/>
                </a:ln>
                <a:solidFill>
                  <a:srgbClr val="404040"/>
                </a:solidFill>
                <a:effectLst/>
                <a:highlight>
                  <a:srgbClr val="FFFFFF"/>
                </a:highlight>
                <a:uLnTx/>
                <a:uFillTx/>
                <a:latin typeface="Arial"/>
                <a:ea typeface="Arial"/>
                <a:cs typeface="Arial"/>
                <a:sym typeface="Arial"/>
              </a:rPr>
              <a:t>Guidelines for auditing management systems</a:t>
            </a:r>
            <a:endParaRPr kumimoji="0" sz="1100" b="0" i="0" u="none" strike="noStrike" kern="1200" cap="none" spc="0" normalizeH="0" baseline="0" noProof="0">
              <a:ln>
                <a:noFill/>
              </a:ln>
              <a:solidFill>
                <a:srgbClr val="40404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ISO 20121’s goal should be to ensure the organisation masters all phases of the organization of the event from the conceptual and initial planning phase, to delivery, dismantling and legacy.</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15000"/>
              </a:lnSpc>
              <a:spcBef>
                <a:spcPts val="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It is recommended that no organisation should be certified prior to the event with the proposition that events are</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 certified during the event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nd not pre event to verify operational implementation of the KPI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Query whether to include an Annex to guide auditors or in a separate document, particularly with regards to sustainability issues and expectations. Experience shows a depth in quality audits and not necessarily CSR.</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00000"/>
              </a:lnSpc>
              <a:spcBef>
                <a:spcPts val="0"/>
              </a:spcBef>
              <a:spcAft>
                <a:spcPts val="0"/>
              </a:spcAft>
              <a:buClr>
                <a:srgbClr val="000000"/>
              </a:buClr>
              <a:buSzPts val="1100"/>
              <a:buFont typeface="Calibri"/>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Based on experience, numerous auditors are trained in quality control, however, it is queried whether it is possible to make a requirement that auditors have </a:t>
            </a:r>
            <a:r>
              <a:rPr kumimoji="0" lang="en-US" sz="1100" b="1"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xpertise in CSR</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297:</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9.3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Every inside audit has their own processes. Which means to work on the same template guide for the interne audit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30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FR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303:</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10.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ISO 20121 standard needs to integrate more sustainability and be less of a quality management system.  A clear description of quality management scope could be added, for a better understanding of what is required. This would also standardize the elements requested during audits.</a:t>
            </a:r>
            <a:endParaRPr kumimoji="0"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18731" y="450962"/>
            <a:ext cx="60486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IMELINE  </a:t>
            </a:r>
          </a:p>
        </p:txBody>
      </p:sp>
      <p:graphicFrame>
        <p:nvGraphicFramePr>
          <p:cNvPr id="2" name="Diagramme 1">
            <a:extLst>
              <a:ext uri="{FF2B5EF4-FFF2-40B4-BE49-F238E27FC236}">
                <a16:creationId xmlns:a16="http://schemas.microsoft.com/office/drawing/2014/main" id="{35622F5F-48C0-8412-B28E-21411BB1D90E}"/>
              </a:ext>
            </a:extLst>
          </p:cNvPr>
          <p:cNvGraphicFramePr/>
          <p:nvPr/>
        </p:nvGraphicFramePr>
        <p:xfrm>
          <a:off x="484207" y="1317741"/>
          <a:ext cx="8175585" cy="49557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65689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Shape 380"/>
        <p:cNvGrpSpPr/>
        <p:nvPr/>
      </p:nvGrpSpPr>
      <p:grpSpPr>
        <a:xfrm>
          <a:off x="0" y="0"/>
          <a:ext cx="0" cy="0"/>
          <a:chOff x="0" y="0"/>
          <a:chExt cx="0" cy="0"/>
        </a:xfrm>
      </p:grpSpPr>
      <p:sp>
        <p:nvSpPr>
          <p:cNvPr id="381" name="Google Shape;381;g23f2d70337f_0_71"/>
          <p:cNvSpPr txBox="1"/>
          <p:nvPr/>
        </p:nvSpPr>
        <p:spPr>
          <a:xfrm>
            <a:off x="100361" y="1061982"/>
            <a:ext cx="9043500" cy="76950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2000" b="0" i="0" u="sng" strike="noStrike" kern="1200" cap="none" spc="0" normalizeH="0" baseline="0" noProof="0">
              <a:ln>
                <a:noFill/>
              </a:ln>
              <a:solidFill>
                <a:srgbClr val="000000"/>
              </a:solidFill>
              <a:effectLst/>
              <a:uLnTx/>
              <a:uFillTx/>
              <a:latin typeface="Arial"/>
              <a:ea typeface="Arial"/>
              <a:cs typeface="Arial"/>
              <a:sym typeface="Arial"/>
            </a:endParaRPr>
          </a:p>
        </p:txBody>
      </p:sp>
      <p:sp>
        <p:nvSpPr>
          <p:cNvPr id="382" name="Google Shape;382;g23f2d70337f_0_71"/>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ISO/PC 250/WG 1</a:t>
            </a:r>
            <a:endParaRPr/>
          </a:p>
        </p:txBody>
      </p:sp>
      <p:sp>
        <p:nvSpPr>
          <p:cNvPr id="383" name="Google Shape;383;g23f2d70337f_0_71"/>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06 Mar- 10 Mar-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384" name="Google Shape;384;g23f2d70337f_0_71"/>
          <p:cNvPicPr preferRelativeResize="0"/>
          <p:nvPr/>
        </p:nvPicPr>
        <p:blipFill rotWithShape="1">
          <a:blip r:embed="rId3">
            <a:alphaModFix/>
          </a:blip>
          <a:srcRect/>
          <a:stretch/>
        </p:blipFill>
        <p:spPr>
          <a:xfrm>
            <a:off x="7611948" y="254397"/>
            <a:ext cx="807585" cy="807585"/>
          </a:xfrm>
          <a:prstGeom prst="rect">
            <a:avLst/>
          </a:prstGeom>
          <a:noFill/>
          <a:ln>
            <a:noFill/>
          </a:ln>
        </p:spPr>
      </p:pic>
      <p:grpSp>
        <p:nvGrpSpPr>
          <p:cNvPr id="385" name="Google Shape;385;g23f2d70337f_0_71"/>
          <p:cNvGrpSpPr/>
          <p:nvPr/>
        </p:nvGrpSpPr>
        <p:grpSpPr>
          <a:xfrm>
            <a:off x="3701287" y="322296"/>
            <a:ext cx="1741322" cy="1214569"/>
            <a:chOff x="878" y="2571330"/>
            <a:chExt cx="3427800" cy="2056500"/>
          </a:xfrm>
        </p:grpSpPr>
        <p:sp>
          <p:nvSpPr>
            <p:cNvPr id="386" name="Google Shape;386;g23f2d70337f_0_71"/>
            <p:cNvSpPr/>
            <p:nvPr/>
          </p:nvSpPr>
          <p:spPr>
            <a:xfrm>
              <a:off x="878" y="2571330"/>
              <a:ext cx="3427800" cy="2056500"/>
            </a:xfrm>
            <a:prstGeom prst="rect">
              <a:avLst/>
            </a:prstGeom>
            <a:gradFill>
              <a:gsLst>
                <a:gs pos="0">
                  <a:srgbClr val="7F5AAB"/>
                </a:gs>
                <a:gs pos="100000">
                  <a:srgbClr val="C7AEED"/>
                </a:gs>
              </a:gsLst>
              <a:lin ang="16200038" scaled="0"/>
            </a:gradFill>
            <a:ln>
              <a:noFill/>
            </a:ln>
            <a:effectLst>
              <a:outerShdw blurRad="40000" dist="23000" dir="5400000" rotWithShape="0">
                <a:srgbClr val="000000">
                  <a:alpha val="3451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387" name="Google Shape;387;g23f2d70337f_0_71"/>
            <p:cNvSpPr txBox="1"/>
            <p:nvPr/>
          </p:nvSpPr>
          <p:spPr>
            <a:xfrm>
              <a:off x="878" y="2571330"/>
              <a:ext cx="3427800" cy="2056500"/>
            </a:xfrm>
            <a:prstGeom prst="rect">
              <a:avLst/>
            </a:prstGeom>
            <a:noFill/>
            <a:ln>
              <a:noFill/>
            </a:ln>
          </p:spPr>
          <p:txBody>
            <a:bodyPr spcFirstLastPara="1" wrap="square" lIns="148575" tIns="148575" rIns="148575" bIns="148575"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3900"/>
                <a:buFont typeface="Arial"/>
                <a:buNone/>
                <a:tabLst/>
                <a:defRPr/>
              </a:pPr>
              <a:r>
                <a:rPr kumimoji="0" lang="en-US" sz="1600" b="0" i="0" u="none" strike="noStrike" kern="1200" cap="none" spc="0" normalizeH="0" baseline="0" noProof="0">
                  <a:ln>
                    <a:noFill/>
                  </a:ln>
                  <a:solidFill>
                    <a:srgbClr val="FFFFFF"/>
                  </a:solidFill>
                  <a:effectLst/>
                  <a:uLnTx/>
                  <a:uFillTx/>
                  <a:latin typeface="Arial"/>
                  <a:ea typeface="Arial"/>
                  <a:cs typeface="Arial"/>
                  <a:sym typeface="Arial"/>
                </a:rPr>
                <a:t>Continual Improvement - Audit practices</a:t>
              </a:r>
              <a:endParaRPr kumimoji="0" sz="1600" b="0" i="0" u="none" strike="noStrike" kern="1200" cap="none" spc="0" normalizeH="0" baseline="0" noProof="0">
                <a:ln>
                  <a:noFill/>
                </a:ln>
                <a:solidFill>
                  <a:srgbClr val="FFFFFF"/>
                </a:solidFill>
                <a:effectLst/>
                <a:uLnTx/>
                <a:uFillTx/>
                <a:latin typeface="Arial"/>
                <a:ea typeface="Arial"/>
                <a:cs typeface="Arial"/>
                <a:sym typeface="Arial"/>
              </a:endParaRPr>
            </a:p>
          </p:txBody>
        </p:sp>
      </p:grpSp>
      <p:sp>
        <p:nvSpPr>
          <p:cNvPr id="388" name="Google Shape;388;g23f2d70337f_0_71"/>
          <p:cNvSpPr txBox="1"/>
          <p:nvPr/>
        </p:nvSpPr>
        <p:spPr>
          <a:xfrm>
            <a:off x="573625" y="1831475"/>
            <a:ext cx="7654800" cy="4814100"/>
          </a:xfrm>
          <a:prstGeom prst="rect">
            <a:avLst/>
          </a:prstGeom>
          <a:noFill/>
          <a:ln>
            <a:noFill/>
          </a:ln>
        </p:spPr>
        <p:txBody>
          <a:bodyPr spcFirstLastPara="1" wrap="square" lIns="91425" tIns="91425" rIns="91425" bIns="91425" anchor="t" anchorCtr="0">
            <a:spAutoFit/>
          </a:bodyPr>
          <a:lstStyle/>
          <a:p>
            <a:pPr marL="635" marR="0" lvl="0" indent="-635" algn="l" defTabSz="914400" rtl="0" eaLnBrk="1" fontAlgn="auto" latinLnBrk="0" hangingPunct="1">
              <a:lnSpc>
                <a:spcPct val="100000"/>
              </a:lnSpc>
              <a:spcBef>
                <a:spcPts val="48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Comments received: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155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uLnTx/>
                <a:uFillTx/>
                <a:latin typeface="Arial"/>
                <a:ea typeface="Arial"/>
                <a:cs typeface="Arial"/>
                <a:sym typeface="Arial"/>
              </a:rPr>
              <a:t>GB-SR </a:t>
            </a:r>
            <a:r>
              <a:rPr kumimoji="0" lang="en-US" sz="1100" b="0" i="0" u="sng" strike="noStrike" kern="1200" cap="none" spc="0" normalizeH="0" baseline="0" noProof="0">
                <a:ln>
                  <a:noFill/>
                </a:ln>
                <a:solidFill>
                  <a:srgbClr val="FF0000"/>
                </a:solidFill>
                <a:effectLst/>
                <a:uLnTx/>
                <a:uFillTx/>
                <a:latin typeface="Arial"/>
                <a:ea typeface="Arial"/>
                <a:cs typeface="Arial"/>
                <a:sym typeface="Arial"/>
              </a:rPr>
              <a:t>030: </a:t>
            </a: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Proposed changes to the standard: Continual improvement of ISO 20121:2012 based on experience of using this standard.  e.g., by enhancing, or adding new annexes </a:t>
            </a: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GB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253: </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6.1.2.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This list has grown and is now confusing and many of the terms are repetitions.  Suggest streamlining the list to make it easier to understand and work with and to adhere to, particularly for smaller events.  A concern is that an auditor will ask to see how a small event has identified and worked with each of these headings.</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US" sz="1100" b="0" i="0" u="sng" strike="noStrike" kern="1200" cap="none" spc="0" normalizeH="0" baseline="0" noProof="0">
                <a:ln>
                  <a:noFill/>
                </a:ln>
                <a:solidFill>
                  <a:srgbClr val="000000"/>
                </a:solidFill>
                <a:effectLst/>
                <a:highlight>
                  <a:srgbClr val="FFFFFF"/>
                </a:highlight>
                <a:uLnTx/>
                <a:uFillTx/>
                <a:latin typeface="Arial"/>
                <a:ea typeface="Arial"/>
                <a:cs typeface="Arial"/>
                <a:sym typeface="Arial"/>
              </a:rPr>
              <a:t>GB </a:t>
            </a:r>
            <a:r>
              <a:rPr kumimoji="0" lang="en-US" sz="1100" b="0" i="0" u="sng" strike="noStrike" kern="1200" cap="none" spc="0" normalizeH="0" baseline="0" noProof="0">
                <a:ln>
                  <a:noFill/>
                </a:ln>
                <a:solidFill>
                  <a:srgbClr val="FF0000"/>
                </a:solidFill>
                <a:effectLst/>
                <a:highlight>
                  <a:srgbClr val="FFFFFF"/>
                </a:highlight>
                <a:uLnTx/>
                <a:uFillTx/>
                <a:latin typeface="Arial"/>
                <a:ea typeface="Arial"/>
                <a:cs typeface="Arial"/>
                <a:sym typeface="Arial"/>
              </a:rPr>
              <a:t>293:</a:t>
            </a:r>
            <a:r>
              <a:rPr kumimoji="0" lang="en-US" sz="1100" b="0"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 9.2. </a:t>
            </a: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Update sub-clause “9.2 Internal audit” text to read: ? [text missing]</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r>
              <a:rPr kumimoji="0" lang="en-US"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rPr>
              <a:t>Additional points (beyond commenting template and requiring further discussion): </a:t>
            </a: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15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Competence of Auditors: 07.03.23 Decision of PC250: Creation of a CASCO Task Force to identify the competence of auditors necessary for auditing ISO 20121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457200" marR="0" lvl="0" indent="-298450" algn="l" defTabSz="914400" rtl="0" eaLnBrk="1" fontAlgn="auto" latinLnBrk="0" hangingPunct="1">
              <a:lnSpc>
                <a:spcPct val="115000"/>
              </a:lnSpc>
              <a:spcBef>
                <a:spcPts val="300"/>
              </a:spcBef>
              <a:spcAft>
                <a:spcPts val="0"/>
              </a:spcAft>
              <a:buClr>
                <a:srgbClr val="000000"/>
              </a:buClr>
              <a:buSzPts val="1100"/>
              <a:buFont typeface="Arial"/>
              <a:buChar char="●"/>
              <a:tabLst/>
              <a:defRPr/>
            </a:pPr>
            <a:r>
              <a:rPr kumimoji="0" lang="en-US"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rPr>
              <a:t>List of documentation. Whether Annex A.16 should include a list of minimum obligatory documents needed to conform with the norm requirement. Currently it is the interpretation of each individual auditor who specifies as to how many are required. The list could include the relevant clauses cited. </a:t>
            </a:r>
            <a:endParaRPr kumimoji="0" sz="1100" b="0" i="0" u="none" strike="noStrike" kern="1200" cap="none" spc="0" normalizeH="0" baseline="0" noProof="0">
              <a:ln>
                <a:noFill/>
              </a:ln>
              <a:solidFill>
                <a:srgbClr val="00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15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l"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just" defTabSz="914400" rtl="0" eaLnBrk="1" fontAlgn="auto" latinLnBrk="0" hangingPunct="1">
              <a:lnSpc>
                <a:spcPct val="100000"/>
              </a:lnSpc>
              <a:spcBef>
                <a:spcPts val="30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100" b="1" i="0" u="none" strike="noStrike" kern="1200" cap="none" spc="0" normalizeH="0" baseline="0" noProof="0">
              <a:ln>
                <a:noFill/>
              </a:ln>
              <a:solidFill>
                <a:srgbClr val="FF0000"/>
              </a:solidFill>
              <a:effectLst/>
              <a:highlight>
                <a:srgbClr val="FFFFFF"/>
              </a:highlight>
              <a:uLnTx/>
              <a:uFillTx/>
              <a:latin typeface="Arial"/>
              <a:ea typeface="Arial"/>
              <a:cs typeface="Arial"/>
              <a:sym typeface="Arial"/>
            </a:endParaRPr>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2"/>
          <p:cNvSpPr txBox="1"/>
          <p:nvPr/>
        </p:nvSpPr>
        <p:spPr>
          <a:xfrm>
            <a:off x="100361" y="1061982"/>
            <a:ext cx="9043500" cy="275148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20000"/>
              </a:lnSpc>
              <a:spcBef>
                <a:spcPts val="0"/>
              </a:spcBef>
              <a:spcAft>
                <a:spcPts val="0"/>
              </a:spcAft>
              <a:buClr>
                <a:srgbClr val="000000"/>
              </a:buClr>
              <a:buSzPts val="1400"/>
              <a:buFont typeface="Arial"/>
              <a:buNone/>
              <a:tabLst/>
              <a:defRPr/>
            </a:pPr>
            <a:endParaRPr kumimoji="0"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1600" b="0" i="0" u="sng"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MATIC REVIEW OF THE REVISED NORM BASED ON THREE PROPOSED AREAS OF REVISION:</a:t>
            </a:r>
            <a:endParaRPr kumimoji="0"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1400"/>
              <a:buFont typeface="Arial"/>
              <a:buNone/>
              <a:tabLst/>
              <a:defRPr/>
            </a:pPr>
            <a:endParaRPr kumimoji="0"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r>
              <a:rPr kumimoji="0" lang="en-US" sz="1600" b="0" i="0" u="none" strike="noStrike" kern="1200" cap="none" spc="0" normalizeH="0" baseline="0" noProof="0" dirty="0">
                <a:ln>
                  <a:noFill/>
                </a:ln>
                <a:solidFill>
                  <a:srgbClr val="E06666"/>
                </a:solidFill>
                <a:effectLst/>
                <a:uLnTx/>
                <a:uFillTx/>
                <a:latin typeface="Arial"/>
                <a:ea typeface="+mn-ea"/>
                <a:cs typeface="+mn-cs"/>
              </a:rPr>
              <a:t>&gt; Work on Axis 1 : Global sustainability framework alignment (SDGS)</a:t>
            </a:r>
            <a:endParaRPr kumimoji="0" sz="1600" b="0" i="0" u="none" strike="noStrike" kern="1200" cap="none" spc="0" normalizeH="0" baseline="0" noProof="0" dirty="0">
              <a:ln>
                <a:noFill/>
              </a:ln>
              <a:solidFill>
                <a:srgbClr val="E06666"/>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r>
              <a:rPr kumimoji="0" lang="en-US" sz="1600" b="0" i="0" u="none" strike="noStrike" kern="1200" cap="none" spc="0" normalizeH="0" baseline="0" noProof="0" dirty="0">
                <a:ln>
                  <a:noFill/>
                </a:ln>
                <a:solidFill>
                  <a:srgbClr val="93C47D"/>
                </a:solidFill>
                <a:effectLst/>
                <a:uLnTx/>
                <a:uFillTx/>
                <a:latin typeface="Arial"/>
                <a:ea typeface="+mn-ea"/>
                <a:cs typeface="+mn-cs"/>
              </a:rPr>
              <a:t>&gt; Work on Axis 2 : Impact Assessment (ESG impact)</a:t>
            </a:r>
            <a:endParaRPr kumimoji="0" sz="1600" b="0" i="0" u="none" strike="noStrike" kern="1200" cap="none" spc="0" normalizeH="0" baseline="0" noProof="0" dirty="0">
              <a:ln>
                <a:noFill/>
              </a:ln>
              <a:solidFill>
                <a:srgbClr val="93C47D"/>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r>
              <a:rPr kumimoji="0" lang="en-US" sz="1600" b="0" i="0" u="none" strike="noStrike" kern="1200" cap="none" spc="0" normalizeH="0" baseline="0" noProof="0" dirty="0">
                <a:ln>
                  <a:noFill/>
                </a:ln>
                <a:solidFill>
                  <a:srgbClr val="6D9EEB"/>
                </a:solidFill>
                <a:effectLst/>
                <a:uLnTx/>
                <a:uFillTx/>
                <a:latin typeface="Arial"/>
                <a:ea typeface="+mn-ea"/>
                <a:cs typeface="+mn-cs"/>
              </a:rPr>
              <a:t>&gt; Work on Axis 3 : User accessibility improvement</a:t>
            </a:r>
            <a:endParaRPr kumimoji="0" sz="1600" b="0" i="0" u="none" strike="noStrike" kern="1200" cap="none" spc="0" normalizeH="0" baseline="0" noProof="0" dirty="0">
              <a:ln>
                <a:noFill/>
              </a:ln>
              <a:solidFill>
                <a:srgbClr val="6D9EEB"/>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000000"/>
              </a:buClr>
              <a:buSzPts val="2000"/>
              <a:buFont typeface="Arial"/>
              <a:buNone/>
              <a:tabLst/>
              <a:defRPr/>
            </a:pPr>
            <a:endParaRPr kumimoji="0" sz="1600" b="0" i="0" u="none" strike="noStrike" kern="1200" cap="none" spc="0" normalizeH="0" baseline="0" noProof="0" dirty="0">
              <a:ln>
                <a:noFill/>
              </a:ln>
              <a:solidFill>
                <a:srgbClr val="674EA7"/>
              </a:solidFill>
              <a:effectLst/>
              <a:uLnTx/>
              <a:uFillTx/>
              <a:latin typeface="Arial"/>
              <a:ea typeface="+mn-ea"/>
              <a:cs typeface="+mn-cs"/>
            </a:endParaRPr>
          </a:p>
        </p:txBody>
      </p:sp>
      <p:sp>
        <p:nvSpPr>
          <p:cNvPr id="61" name="Google Shape;61;p2"/>
          <p:cNvSpPr txBox="1">
            <a:spLocks noGrp="1"/>
          </p:cNvSpPr>
          <p:nvPr>
            <p:ph type="title"/>
          </p:nvPr>
        </p:nvSpPr>
        <p:spPr>
          <a:xfrm>
            <a:off x="641350" y="544828"/>
            <a:ext cx="7861300" cy="769441"/>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ISO/PC 250/WG 1 – 3 THEMATIC AXES</a:t>
            </a:r>
            <a:endParaRPr/>
          </a:p>
        </p:txBody>
      </p:sp>
      <p:sp>
        <p:nvSpPr>
          <p:cNvPr id="62" name="Google Shape;62;p2"/>
          <p:cNvSpPr txBox="1">
            <a:spLocks noGrp="1"/>
          </p:cNvSpPr>
          <p:nvPr>
            <p:ph type="ftr" idx="11"/>
          </p:nvPr>
        </p:nvSpPr>
        <p:spPr>
          <a:xfrm>
            <a:off x="641350" y="6506642"/>
            <a:ext cx="244297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63" name="Google Shape;63;p2"/>
          <p:cNvPicPr preferRelativeResize="0"/>
          <p:nvPr/>
        </p:nvPicPr>
        <p:blipFill rotWithShape="1">
          <a:blip r:embed="rId3">
            <a:alphaModFix/>
          </a:blip>
          <a:srcRect/>
          <a:stretch/>
        </p:blipFill>
        <p:spPr>
          <a:xfrm>
            <a:off x="7611948" y="254397"/>
            <a:ext cx="807585" cy="807585"/>
          </a:xfrm>
          <a:prstGeom prst="rect">
            <a:avLst/>
          </a:prstGeom>
          <a:noFill/>
          <a:ln>
            <a:noFill/>
          </a:ln>
        </p:spPr>
      </p:pic>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g23f2d70337f_0_0"/>
          <p:cNvSpPr txBox="1"/>
          <p:nvPr/>
        </p:nvSpPr>
        <p:spPr>
          <a:xfrm>
            <a:off x="95125" y="1152400"/>
            <a:ext cx="9048876" cy="6873636"/>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400"/>
              </a:spcBef>
              <a:spcAft>
                <a:spcPts val="0"/>
              </a:spcAft>
              <a:buClr>
                <a:srgbClr val="000000"/>
              </a:buClr>
              <a:buSzPts val="1100"/>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WG based on the French/UK proposal worked on 3 axis to guarantee that the norm accurately reflects a comprehensive, practical and </a:t>
            </a:r>
            <a:r>
              <a:rPr kumimoji="0" lang="en-US" sz="1400" b="0" i="0" u="none" strike="noStrike" kern="1200" cap="none" spc="0" normalizeH="0" baseline="0" noProof="0">
                <a:ln>
                  <a:noFill/>
                </a:ln>
                <a:solidFill>
                  <a:srgbClr val="000000"/>
                </a:solidFill>
                <a:effectLst/>
                <a:uLnTx/>
                <a:uFillTx/>
                <a:latin typeface="Arial"/>
                <a:ea typeface="+mn-ea"/>
                <a:cs typeface="+mn-cs"/>
              </a:rPr>
              <a:t>forward-thinking standard </a:t>
            </a:r>
            <a:r>
              <a:rPr kumimoji="0" lang="en-US" sz="1400" b="0" i="0" u="none" strike="noStrike" kern="1200" cap="none" spc="0" normalizeH="0" baseline="0" noProof="0" dirty="0">
                <a:ln>
                  <a:noFill/>
                </a:ln>
                <a:solidFill>
                  <a:srgbClr val="000000"/>
                </a:solidFill>
                <a:effectLst/>
                <a:uLnTx/>
                <a:uFillTx/>
                <a:latin typeface="Arial"/>
                <a:ea typeface="+mn-ea"/>
                <a:cs typeface="+mn-cs"/>
              </a:rPr>
              <a:t>that can be used as a framework for making events more sustainable globally.</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400"/>
              </a:spcBef>
              <a:spcAft>
                <a:spcPts val="0"/>
              </a:spcAft>
              <a:buClr>
                <a:srgbClr val="000000"/>
              </a:buClr>
              <a:buSzPts val="11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3900"/>
              <a:buFont typeface="Arial"/>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Global Sustainability Frameworks: </a:t>
            </a:r>
            <a:endParaRPr kumimoji="0" sz="1400" b="1"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ince the norm was released in 2012, we now have the UN Sustainable Development Goals and numerous sustainability frameworks that affect the events sector. </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norm needs to integrate the requirements expected by the international community of the event sector, and </a:t>
            </a: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to reinforce reference to normative (legal and policy) frameworks to avoid greenwashing and assist events. </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39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3900"/>
              <a:buFont typeface="Arial"/>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 Impact Assessment: </a:t>
            </a:r>
            <a:endParaRPr kumimoji="0" sz="1400" b="1"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norm requires greater consideration of social issues, frameworks and impact e.g. human rights, impact on local communities. </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norm </a:t>
            </a: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needs to ensure that reference to the </a:t>
            </a:r>
            <a:r>
              <a:rPr kumimoji="0" lang="en-US" sz="1400" b="0" i="0" u="none" strike="noStrike" kern="1200" cap="none" spc="0" normalizeH="0" baseline="0" noProof="0" dirty="0">
                <a:ln>
                  <a:noFill/>
                </a:ln>
                <a:solidFill>
                  <a:srgbClr val="000000"/>
                </a:solidFill>
                <a:effectLst/>
                <a:uLnTx/>
                <a:uFillTx/>
                <a:latin typeface="Arial"/>
                <a:ea typeface="+mn-ea"/>
                <a:cs typeface="+mn-cs"/>
              </a:rPr>
              <a:t>Environmental, Social and Governance (ESG)</a:t>
            </a: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 impact and legacy of an event is reinforced.</a:t>
            </a:r>
            <a:endParaRPr kumimoji="0"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3900"/>
              <a:buFont typeface="Arial"/>
              <a:buNone/>
              <a:tabLst/>
              <a:defRPr/>
            </a:pPr>
            <a:endParaRPr kumimoji="0"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3.  User accessibility: </a:t>
            </a:r>
            <a:endParaRPr kumimoji="0" sz="1400" b="1"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norms needs to reflect a changing events sector, that includes virtual and hybrid events. </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Need to ensure that the requirements of ISO 20121 remain relevant and applicable to a broad range of events &amp; events </a:t>
            </a:r>
            <a:r>
              <a:rPr kumimoji="0" lang="en-US" sz="1400" b="0" i="0" u="none" strike="noStrike" kern="1200" cap="none" spc="0" normalizeH="0" baseline="0" noProof="0" dirty="0" err="1">
                <a:ln>
                  <a:noFill/>
                </a:ln>
                <a:solidFill>
                  <a:srgbClr val="000000"/>
                </a:solidFill>
                <a:effectLst/>
                <a:highlight>
                  <a:srgbClr val="FFFFFF"/>
                </a:highlight>
                <a:uLnTx/>
                <a:uFillTx/>
                <a:latin typeface="Arial"/>
                <a:ea typeface="+mn-ea"/>
                <a:cs typeface="+mn-cs"/>
              </a:rPr>
              <a:t>organisers</a:t>
            </a: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 (size and budget).</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lignment or reference to key sustainability standards including ISO standards, good practice will enable greater user accessibility and inspire all stakeholders.</a:t>
            </a: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457200" marR="0" lvl="0" indent="-304800" algn="just" defTabSz="914400" rtl="0" eaLnBrk="1" fontAlgn="auto" latinLnBrk="0" hangingPunct="1">
              <a:lnSpc>
                <a:spcPct val="100000"/>
              </a:lnSpc>
              <a:spcBef>
                <a:spcPts val="0"/>
              </a:spcBef>
              <a:spcAft>
                <a:spcPts val="0"/>
              </a:spcAft>
              <a:buClr>
                <a:srgbClr val="000000"/>
              </a:buClr>
              <a:buSzPts val="1200"/>
              <a:buFontTx/>
              <a:buChar char="●"/>
              <a:tabLst/>
              <a:defRPr/>
            </a:pPr>
            <a:r>
              <a:rPr kumimoji="0" lang="en-US" sz="1400" b="0" i="0" u="none" strike="noStrike" kern="1200" cap="none" spc="0" normalizeH="0" baseline="0" noProof="0" dirty="0">
                <a:ln>
                  <a:noFill/>
                </a:ln>
                <a:solidFill>
                  <a:srgbClr val="000000"/>
                </a:solidFill>
                <a:effectLst/>
                <a:highlight>
                  <a:srgbClr val="FFFFFF"/>
                </a:highlight>
                <a:uLnTx/>
                <a:uFillTx/>
                <a:latin typeface="Arial"/>
                <a:ea typeface="+mn-ea"/>
                <a:cs typeface="+mn-cs"/>
              </a:rPr>
              <a:t>Need to create a community around the norm</a:t>
            </a:r>
            <a:endParaRPr kumimoji="0" sz="1400" b="0" i="0" u="none" strike="noStrike" kern="1200" cap="none" spc="0" normalizeH="0" baseline="0" noProof="0" dirty="0">
              <a:ln>
                <a:noFill/>
              </a:ln>
              <a:solidFill>
                <a:srgbClr val="000000"/>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1400" b="0" i="0" u="none" strike="noStrike" kern="1200" cap="none" spc="0" normalizeH="0" baseline="0" noProof="0" dirty="0">
              <a:ln>
                <a:noFill/>
              </a:ln>
              <a:solidFill>
                <a:srgbClr val="282828"/>
              </a:solidFill>
              <a:effectLst/>
              <a:highlight>
                <a:srgbClr val="FFFFFF"/>
              </a:highligh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Google Shape;71;g23f2d70337f_0_0"/>
          <p:cNvSpPr txBox="1">
            <a:spLocks noGrp="1"/>
          </p:cNvSpPr>
          <p:nvPr>
            <p:ph type="title"/>
          </p:nvPr>
        </p:nvSpPr>
        <p:spPr>
          <a:xfrm>
            <a:off x="474481" y="421293"/>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dirty="0"/>
              <a:t>UNDERSTAND HOW THE WD HAS BEEN BUILT </a:t>
            </a:r>
            <a:endParaRPr dirty="0"/>
          </a:p>
        </p:txBody>
      </p:sp>
      <p:sp>
        <p:nvSpPr>
          <p:cNvPr id="72" name="Google Shape;72;g23f2d70337f_0_0"/>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73" name="Google Shape;73;g23f2d70337f_0_0"/>
          <p:cNvPicPr preferRelativeResize="0"/>
          <p:nvPr/>
        </p:nvPicPr>
        <p:blipFill rotWithShape="1">
          <a:blip r:embed="rId3">
            <a:alphaModFix/>
          </a:blip>
          <a:srcRect/>
          <a:stretch/>
        </p:blipFill>
        <p:spPr>
          <a:xfrm>
            <a:off x="7611948" y="254397"/>
            <a:ext cx="807585" cy="807585"/>
          </a:xfrm>
          <a:prstGeom prst="rect">
            <a:avLst/>
          </a:prstGeom>
          <a:noFill/>
          <a:ln>
            <a:noFill/>
          </a:ln>
        </p:spPr>
      </p:pic>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7D11D7-F8C6-EBBC-2B4F-FD7737322B4F}"/>
              </a:ext>
            </a:extLst>
          </p:cNvPr>
          <p:cNvSpPr>
            <a:spLocks noGrp="1"/>
          </p:cNvSpPr>
          <p:nvPr>
            <p:ph type="title"/>
          </p:nvPr>
        </p:nvSpPr>
        <p:spPr/>
        <p:txBody>
          <a:bodyPr/>
          <a:lstStyle/>
          <a:p>
            <a:r>
              <a:rPr lang="fr-FR" dirty="0"/>
              <a:t>HOW THE 3 AXIS HAS BEEN ADRESSED DURING WG WORKING SESSIONS ? </a:t>
            </a:r>
          </a:p>
        </p:txBody>
      </p:sp>
    </p:spTree>
    <p:extLst>
      <p:ext uri="{BB962C8B-B14F-4D97-AF65-F5344CB8AC3E}">
        <p14:creationId xmlns:p14="http://schemas.microsoft.com/office/powerpoint/2010/main" val="15248357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
        <p:nvSpPr>
          <p:cNvPr id="80" name="Google Shape;80;g23f2d70337f_0_969"/>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1"/>
              </a:buClr>
              <a:buSzPts val="2400"/>
              <a:buFont typeface="Arial"/>
              <a:buNone/>
            </a:pPr>
            <a:r>
              <a:rPr lang="en-US"/>
              <a:t>3 AXES ANALYSIS </a:t>
            </a:r>
            <a:endParaRPr/>
          </a:p>
        </p:txBody>
      </p:sp>
      <p:sp>
        <p:nvSpPr>
          <p:cNvPr id="81" name="Google Shape;81;g23f2d70337f_0_969"/>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82" name="Google Shape;82;g23f2d70337f_0_969"/>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83" name="Google Shape;83;g23f2d70337f_0_969"/>
          <p:cNvSpPr txBox="1"/>
          <p:nvPr/>
        </p:nvSpPr>
        <p:spPr>
          <a:xfrm>
            <a:off x="469900" y="1190625"/>
            <a:ext cx="7314000" cy="11286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he revision process has sought to address these 3 broad needs and can be summarised as follows: </a:t>
            </a:r>
            <a:endParaRPr kumimoji="0" sz="11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100" b="0" i="0" u="none" strike="noStrike" kern="1200" cap="none" spc="0" normalizeH="0" baseline="0" noProof="0">
              <a:ln>
                <a:noFill/>
              </a:ln>
              <a:solidFill>
                <a:srgbClr val="000000"/>
              </a:solidFill>
              <a:effectLst/>
              <a:uLnTx/>
              <a:uFillTx/>
              <a:latin typeface="Arial"/>
              <a:ea typeface="+mn-ea"/>
              <a:cs typeface="+mn-cs"/>
            </a:endParaRPr>
          </a:p>
          <a:p>
            <a:pPr marL="0" marR="0" lvl="0" indent="0" algn="just" defTabSz="914400" rtl="0" eaLnBrk="1" fontAlgn="auto" latinLnBrk="0" hangingPunct="1">
              <a:lnSpc>
                <a:spcPct val="115000"/>
              </a:lnSpc>
              <a:spcBef>
                <a:spcPts val="40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Google Shape;84;g23f2d70337f_0_969"/>
          <p:cNvSpPr txBox="1"/>
          <p:nvPr/>
        </p:nvSpPr>
        <p:spPr>
          <a:xfrm>
            <a:off x="943725" y="5202125"/>
            <a:ext cx="4859700" cy="4002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82828"/>
              </a:solidFill>
              <a:effectLst/>
              <a:highlight>
                <a:srgbClr val="FFFFFF"/>
              </a:highlight>
              <a:uLnTx/>
              <a:uFillTx/>
              <a:latin typeface="Arial"/>
              <a:ea typeface="+mn-ea"/>
              <a:cs typeface="+mn-cs"/>
            </a:endParaRPr>
          </a:p>
        </p:txBody>
      </p:sp>
      <p:graphicFrame>
        <p:nvGraphicFramePr>
          <p:cNvPr id="85" name="Google Shape;85;g23f2d70337f_0_969"/>
          <p:cNvGraphicFramePr/>
          <p:nvPr/>
        </p:nvGraphicFramePr>
        <p:xfrm>
          <a:off x="641350" y="1743075"/>
          <a:ext cx="7239000" cy="3284150"/>
        </p:xfrm>
        <a:graphic>
          <a:graphicData uri="http://schemas.openxmlformats.org/drawingml/2006/table">
            <a:tbl>
              <a:tblPr>
                <a:noFill/>
                <a:tableStyleId>{8D6B96F3-E438-4E6D-BC44-164D725B594E}</a:tableStyleId>
              </a:tblPr>
              <a:tblGrid>
                <a:gridCol w="1304925">
                  <a:extLst>
                    <a:ext uri="{9D8B030D-6E8A-4147-A177-3AD203B41FA5}">
                      <a16:colId xmlns:a16="http://schemas.microsoft.com/office/drawing/2014/main" val="20000"/>
                    </a:ext>
                  </a:extLst>
                </a:gridCol>
                <a:gridCol w="5934075">
                  <a:extLst>
                    <a:ext uri="{9D8B030D-6E8A-4147-A177-3AD203B41FA5}">
                      <a16:colId xmlns:a16="http://schemas.microsoft.com/office/drawing/2014/main" val="20001"/>
                    </a:ext>
                  </a:extLst>
                </a:gridCol>
              </a:tblGrid>
              <a:tr h="434300">
                <a:tc>
                  <a:txBody>
                    <a:bodyPr/>
                    <a:lstStyle/>
                    <a:p>
                      <a:pPr marL="0" lvl="0" indent="0" algn="l" rtl="0">
                        <a:lnSpc>
                          <a:spcPct val="115000"/>
                        </a:lnSpc>
                        <a:spcBef>
                          <a:spcPts val="1200"/>
                        </a:spcBef>
                        <a:spcAft>
                          <a:spcPts val="0"/>
                        </a:spcAft>
                        <a:buNone/>
                      </a:pPr>
                      <a:r>
                        <a:rPr lang="en-US" sz="1100" b="1"/>
                        <a:t>Axes of Analysis</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tc>
                  <a:txBody>
                    <a:bodyPr/>
                    <a:lstStyle/>
                    <a:p>
                      <a:pPr marL="0" lvl="0" indent="0" algn="l" rtl="0">
                        <a:lnSpc>
                          <a:spcPct val="115000"/>
                        </a:lnSpc>
                        <a:spcBef>
                          <a:spcPts val="1200"/>
                        </a:spcBef>
                        <a:spcAft>
                          <a:spcPts val="0"/>
                        </a:spcAft>
                        <a:buNone/>
                      </a:pPr>
                      <a:r>
                        <a:rPr lang="en-US" sz="1100" b="1"/>
                        <a:t>Revisions proposed</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extLst>
                  <a:ext uri="{0D108BD9-81ED-4DB2-BD59-A6C34878D82A}">
                    <a16:rowId xmlns:a16="http://schemas.microsoft.com/office/drawing/2014/main" val="10000"/>
                  </a:ext>
                </a:extLst>
              </a:tr>
              <a:tr h="2739125">
                <a:tc>
                  <a:txBody>
                    <a:bodyPr/>
                    <a:lstStyle/>
                    <a:p>
                      <a:pPr marL="0" lvl="0" indent="0" algn="l" rtl="0">
                        <a:lnSpc>
                          <a:spcPct val="100000"/>
                        </a:lnSpc>
                        <a:spcBef>
                          <a:spcPts val="0"/>
                        </a:spcBef>
                        <a:spcAft>
                          <a:spcPts val="0"/>
                        </a:spcAft>
                        <a:buNone/>
                      </a:pPr>
                      <a:r>
                        <a:rPr lang="en-US" sz="1100" b="1">
                          <a:solidFill>
                            <a:srgbClr val="FF0000"/>
                          </a:solidFill>
                        </a:rPr>
                        <a:t>1. Global Sustainability Frameworks</a:t>
                      </a:r>
                      <a:endParaRPr sz="1100"/>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4CCCC"/>
                    </a:solidFill>
                  </a:tcPr>
                </a:tc>
                <a:tc>
                  <a:txBody>
                    <a:bodyPr/>
                    <a:lstStyle/>
                    <a:p>
                      <a:pPr marL="0" lvl="0" indent="0" algn="l" rtl="0">
                        <a:lnSpc>
                          <a:spcPct val="100000"/>
                        </a:lnSpc>
                        <a:spcBef>
                          <a:spcPts val="1200"/>
                        </a:spcBef>
                        <a:spcAft>
                          <a:spcPts val="0"/>
                        </a:spcAft>
                        <a:buNone/>
                      </a:pPr>
                      <a:r>
                        <a:rPr lang="en-US" sz="1100">
                          <a:solidFill>
                            <a:schemeClr val="dk1"/>
                          </a:solidFill>
                          <a:highlight>
                            <a:srgbClr val="F4CCCC"/>
                          </a:highlight>
                        </a:rPr>
                        <a:t>Eight (8) proposed revisions including:</a:t>
                      </a:r>
                      <a:endParaRPr sz="1100">
                        <a:solidFill>
                          <a:schemeClr val="dk1"/>
                        </a:solidFill>
                        <a:highlight>
                          <a:srgbClr val="F4CCCC"/>
                        </a:highlight>
                      </a:endParaRPr>
                    </a:p>
                    <a:p>
                      <a:pPr marL="457200" lvl="0" indent="-298450" algn="l" rtl="0">
                        <a:lnSpc>
                          <a:spcPct val="100000"/>
                        </a:lnSpc>
                        <a:spcBef>
                          <a:spcPts val="1200"/>
                        </a:spcBef>
                        <a:spcAft>
                          <a:spcPts val="0"/>
                        </a:spcAft>
                        <a:buClr>
                          <a:schemeClr val="dk1"/>
                        </a:buClr>
                        <a:buSzPts val="1100"/>
                        <a:buChar char="●"/>
                      </a:pPr>
                      <a:r>
                        <a:rPr lang="en-US" sz="1100">
                          <a:solidFill>
                            <a:schemeClr val="dk1"/>
                          </a:solidFill>
                          <a:highlight>
                            <a:srgbClr val="F4CCCC"/>
                          </a:highlight>
                        </a:rPr>
                        <a:t>2 revised definitions: 3.2 sustainability, 3.3 sustainable development and 4.1  Understanding the organization and its context: now include reference to SDGs.</a:t>
                      </a:r>
                      <a:endParaRPr sz="1100">
                        <a:solidFill>
                          <a:schemeClr val="dk1"/>
                        </a:solidFill>
                        <a:highlight>
                          <a:srgbClr val="F4CCCC"/>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F4CCCC"/>
                          </a:highlight>
                        </a:rPr>
                        <a:t>Revised </a:t>
                      </a:r>
                      <a:r>
                        <a:rPr lang="en-US" sz="1100" b="1">
                          <a:solidFill>
                            <a:schemeClr val="dk1"/>
                          </a:solidFill>
                          <a:highlight>
                            <a:srgbClr val="F4CCCC"/>
                          </a:highlight>
                        </a:rPr>
                        <a:t>Annex A.11</a:t>
                      </a:r>
                      <a:r>
                        <a:rPr lang="en-US" sz="1100">
                          <a:solidFill>
                            <a:schemeClr val="dk1"/>
                          </a:solidFill>
                          <a:highlight>
                            <a:srgbClr val="F4CCCC"/>
                          </a:highlight>
                        </a:rPr>
                        <a:t> </a:t>
                      </a:r>
                      <a:r>
                        <a:rPr lang="en-US" sz="1100" b="1">
                          <a:solidFill>
                            <a:schemeClr val="dk1"/>
                          </a:solidFill>
                          <a:highlight>
                            <a:srgbClr val="F4CCCC"/>
                          </a:highlight>
                        </a:rPr>
                        <a:t>Legal and other requirements </a:t>
                      </a:r>
                      <a:r>
                        <a:rPr lang="en-US" sz="1100">
                          <a:solidFill>
                            <a:schemeClr val="dk1"/>
                          </a:solidFill>
                          <a:highlight>
                            <a:srgbClr val="F4CCCC"/>
                          </a:highlight>
                        </a:rPr>
                        <a:t>includes</a:t>
                      </a:r>
                      <a:r>
                        <a:rPr lang="en-US" sz="1100" b="1">
                          <a:solidFill>
                            <a:schemeClr val="dk1"/>
                          </a:solidFill>
                          <a:highlight>
                            <a:srgbClr val="F4CCCC"/>
                          </a:highlight>
                        </a:rPr>
                        <a:t> </a:t>
                      </a:r>
                      <a:r>
                        <a:rPr lang="en-US" sz="1100">
                          <a:solidFill>
                            <a:schemeClr val="dk1"/>
                          </a:solidFill>
                          <a:highlight>
                            <a:srgbClr val="F4CCCC"/>
                          </a:highlight>
                        </a:rPr>
                        <a:t>a list of legal frameworks and guidance that may be relevant to the implementation of ISO 20121 including SDGs, Convention on the Rights of Persons with Disabilities (2006) Convention on the Elimination of All Forms of Discrimination against Women (1979), Convention on the Rights of the Child (1989) [...] ISO standards supporting the UN SDGs e.g. UN SDG no.1: ISO 20400 Sustainable procurement – Guidance</a:t>
                      </a:r>
                      <a:endParaRPr sz="1100">
                        <a:solidFill>
                          <a:schemeClr val="dk1"/>
                        </a:solidFill>
                        <a:highlight>
                          <a:srgbClr val="F4CCCC"/>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F4CCCC"/>
                          </a:highlight>
                        </a:rPr>
                        <a:t>Added </a:t>
                      </a:r>
                      <a:r>
                        <a:rPr lang="en-US" sz="1100" b="1">
                          <a:solidFill>
                            <a:schemeClr val="dk1"/>
                          </a:solidFill>
                          <a:highlight>
                            <a:srgbClr val="F4CCCC"/>
                          </a:highlight>
                        </a:rPr>
                        <a:t>human rights</a:t>
                      </a:r>
                      <a:r>
                        <a:rPr lang="en-US" sz="1100">
                          <a:solidFill>
                            <a:schemeClr val="dk1"/>
                          </a:solidFill>
                          <a:highlight>
                            <a:srgbClr val="F4CCCC"/>
                          </a:highlight>
                        </a:rPr>
                        <a:t> to </a:t>
                      </a:r>
                      <a:r>
                        <a:rPr lang="en-US" sz="1100" b="1">
                          <a:solidFill>
                            <a:schemeClr val="dk1"/>
                          </a:solidFill>
                          <a:highlight>
                            <a:srgbClr val="F4CCCC"/>
                          </a:highlight>
                        </a:rPr>
                        <a:t>Annex C.</a:t>
                      </a:r>
                      <a:r>
                        <a:rPr lang="en-US" sz="1100">
                          <a:solidFill>
                            <a:schemeClr val="dk1"/>
                          </a:solidFill>
                          <a:highlight>
                            <a:srgbClr val="F4CCCC"/>
                          </a:highlight>
                        </a:rPr>
                        <a:t> </a:t>
                      </a:r>
                      <a:r>
                        <a:rPr lang="en-US" sz="1100" b="1">
                          <a:solidFill>
                            <a:schemeClr val="dk1"/>
                          </a:solidFill>
                          <a:highlight>
                            <a:srgbClr val="F4CCCC"/>
                          </a:highlight>
                        </a:rPr>
                        <a:t>Table  C.1 List of</a:t>
                      </a:r>
                      <a:r>
                        <a:rPr lang="en-US" sz="1100">
                          <a:solidFill>
                            <a:schemeClr val="dk1"/>
                          </a:solidFill>
                          <a:highlight>
                            <a:srgbClr val="F4CCCC"/>
                          </a:highlight>
                        </a:rPr>
                        <a:t> </a:t>
                      </a:r>
                      <a:r>
                        <a:rPr lang="en-US" sz="1100" b="1">
                          <a:solidFill>
                            <a:schemeClr val="dk1"/>
                          </a:solidFill>
                          <a:highlight>
                            <a:srgbClr val="F4CCCC"/>
                          </a:highlight>
                        </a:rPr>
                        <a:t>issues </a:t>
                      </a:r>
                      <a:r>
                        <a:rPr lang="en-US" sz="1100">
                          <a:solidFill>
                            <a:schemeClr val="dk1"/>
                          </a:solidFill>
                          <a:highlight>
                            <a:srgbClr val="F4CCCC"/>
                          </a:highlight>
                        </a:rPr>
                        <a:t>for organizations to consider in fulfilling issue identification and evaluation.</a:t>
                      </a:r>
                      <a:endParaRPr sz="1100">
                        <a:solidFill>
                          <a:schemeClr val="dk1"/>
                        </a:solidFill>
                        <a:highlight>
                          <a:srgbClr val="F4CCCC"/>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F4CCCC"/>
                          </a:highlight>
                        </a:rPr>
                        <a:t>New </a:t>
                      </a:r>
                      <a:r>
                        <a:rPr lang="en-US" sz="1100" b="1">
                          <a:solidFill>
                            <a:schemeClr val="dk1"/>
                          </a:solidFill>
                          <a:highlight>
                            <a:srgbClr val="F4CCCC"/>
                          </a:highlight>
                        </a:rPr>
                        <a:t>Annex C.3 Guidelines on Reporting </a:t>
                      </a:r>
                      <a:r>
                        <a:rPr lang="en-US" sz="1100">
                          <a:solidFill>
                            <a:schemeClr val="dk1"/>
                          </a:solidFill>
                          <a:highlight>
                            <a:srgbClr val="F4CCCC"/>
                          </a:highlight>
                        </a:rPr>
                        <a:t>(see Axe 2 below) that refer to relevant frameworks (SDGs, ISO, GRI etc).</a:t>
                      </a:r>
                      <a:endParaRPr sz="1100">
                        <a:solidFill>
                          <a:schemeClr val="dk1"/>
                        </a:solidFill>
                        <a:highlight>
                          <a:srgbClr val="F4CCCC"/>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F4CCCC"/>
                          </a:highlight>
                        </a:rPr>
                        <a:t>Added reference to relevant ISO standards e.g. 3.16: definition of </a:t>
                      </a:r>
                      <a:r>
                        <a:rPr lang="en-US" sz="1100" b="1">
                          <a:solidFill>
                            <a:schemeClr val="dk1"/>
                          </a:solidFill>
                          <a:highlight>
                            <a:srgbClr val="F4CCCC"/>
                          </a:highlight>
                        </a:rPr>
                        <a:t>inclusivity ; </a:t>
                      </a:r>
                      <a:r>
                        <a:rPr lang="en-US" sz="1100">
                          <a:solidFill>
                            <a:schemeClr val="dk1"/>
                          </a:solidFill>
                          <a:highlight>
                            <a:srgbClr val="F4CCCC"/>
                          </a:highlight>
                        </a:rPr>
                        <a:t>8.3. </a:t>
                      </a:r>
                      <a:r>
                        <a:rPr lang="en-US" sz="1100" b="1">
                          <a:solidFill>
                            <a:schemeClr val="dk1"/>
                          </a:solidFill>
                          <a:highlight>
                            <a:srgbClr val="F4CCCC"/>
                          </a:highlight>
                        </a:rPr>
                        <a:t>Supply Chain</a:t>
                      </a:r>
                      <a:r>
                        <a:rPr lang="en-US" sz="1100">
                          <a:solidFill>
                            <a:schemeClr val="dk1"/>
                          </a:solidFill>
                          <a:highlight>
                            <a:srgbClr val="F4CCCC"/>
                          </a:highlight>
                        </a:rPr>
                        <a:t> management.</a:t>
                      </a:r>
                      <a:endParaRPr sz="1100">
                        <a:highlight>
                          <a:srgbClr val="F4CCCC"/>
                        </a:highlight>
                      </a:endParaRPr>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F4CCCC"/>
                    </a:solidFill>
                  </a:tcPr>
                </a:tc>
                <a:extLst>
                  <a:ext uri="{0D108BD9-81ED-4DB2-BD59-A6C34878D82A}">
                    <a16:rowId xmlns:a16="http://schemas.microsoft.com/office/drawing/2014/main" val="10001"/>
                  </a:ext>
                </a:extLst>
              </a:tr>
            </a:tbl>
          </a:graphicData>
        </a:graphic>
      </p:graphicFrame>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sp>
        <p:nvSpPr>
          <p:cNvPr id="92" name="Google Shape;92;g23f2d70337f_0_1042"/>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2400"/>
              <a:buFont typeface="Arial"/>
              <a:buNone/>
            </a:pPr>
            <a:r>
              <a:rPr lang="en-US"/>
              <a:t>3 AXES ANALYSIS </a:t>
            </a:r>
            <a:endParaRPr/>
          </a:p>
        </p:txBody>
      </p:sp>
      <p:sp>
        <p:nvSpPr>
          <p:cNvPr id="93" name="Google Shape;93;g23f2d70337f_0_1042"/>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94" name="Google Shape;94;g23f2d70337f_0_1042"/>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95" name="Google Shape;95;g23f2d70337f_0_1042"/>
          <p:cNvSpPr txBox="1"/>
          <p:nvPr/>
        </p:nvSpPr>
        <p:spPr>
          <a:xfrm>
            <a:off x="943725" y="5202125"/>
            <a:ext cx="4859700" cy="4002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82828"/>
              </a:solidFill>
              <a:effectLst/>
              <a:highlight>
                <a:srgbClr val="FFFFFF"/>
              </a:highlight>
              <a:uLnTx/>
              <a:uFillTx/>
              <a:latin typeface="Arial"/>
              <a:ea typeface="+mn-ea"/>
              <a:cs typeface="+mn-cs"/>
            </a:endParaRPr>
          </a:p>
        </p:txBody>
      </p:sp>
      <p:graphicFrame>
        <p:nvGraphicFramePr>
          <p:cNvPr id="96" name="Google Shape;96;g23f2d70337f_0_1042"/>
          <p:cNvGraphicFramePr/>
          <p:nvPr/>
        </p:nvGraphicFramePr>
        <p:xfrm>
          <a:off x="489975" y="1379750"/>
          <a:ext cx="7861200" cy="4625270"/>
        </p:xfrm>
        <a:graphic>
          <a:graphicData uri="http://schemas.openxmlformats.org/drawingml/2006/table">
            <a:tbl>
              <a:tblPr>
                <a:noFill/>
                <a:tableStyleId>{8D6B96F3-E438-4E6D-BC44-164D725B594E}</a:tableStyleId>
              </a:tblPr>
              <a:tblGrid>
                <a:gridCol w="1417075">
                  <a:extLst>
                    <a:ext uri="{9D8B030D-6E8A-4147-A177-3AD203B41FA5}">
                      <a16:colId xmlns:a16="http://schemas.microsoft.com/office/drawing/2014/main" val="20000"/>
                    </a:ext>
                  </a:extLst>
                </a:gridCol>
                <a:gridCol w="6444125">
                  <a:extLst>
                    <a:ext uri="{9D8B030D-6E8A-4147-A177-3AD203B41FA5}">
                      <a16:colId xmlns:a16="http://schemas.microsoft.com/office/drawing/2014/main" val="20001"/>
                    </a:ext>
                  </a:extLst>
                </a:gridCol>
              </a:tblGrid>
              <a:tr h="434300">
                <a:tc>
                  <a:txBody>
                    <a:bodyPr/>
                    <a:lstStyle/>
                    <a:p>
                      <a:pPr marL="0" lvl="0" indent="0" algn="l" rtl="0">
                        <a:lnSpc>
                          <a:spcPct val="115000"/>
                        </a:lnSpc>
                        <a:spcBef>
                          <a:spcPts val="1200"/>
                        </a:spcBef>
                        <a:spcAft>
                          <a:spcPts val="0"/>
                        </a:spcAft>
                        <a:buNone/>
                      </a:pPr>
                      <a:r>
                        <a:rPr lang="en-US" sz="1100" b="1"/>
                        <a:t>Axes of Analysis</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tc>
                  <a:txBody>
                    <a:bodyPr/>
                    <a:lstStyle/>
                    <a:p>
                      <a:pPr marL="0" lvl="0" indent="0" algn="l" rtl="0">
                        <a:lnSpc>
                          <a:spcPct val="115000"/>
                        </a:lnSpc>
                        <a:spcBef>
                          <a:spcPts val="1200"/>
                        </a:spcBef>
                        <a:spcAft>
                          <a:spcPts val="0"/>
                        </a:spcAft>
                        <a:buNone/>
                      </a:pPr>
                      <a:r>
                        <a:rPr lang="en-US" sz="1100" b="1"/>
                        <a:t>Revisions proposed</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extLst>
                  <a:ext uri="{0D108BD9-81ED-4DB2-BD59-A6C34878D82A}">
                    <a16:rowId xmlns:a16="http://schemas.microsoft.com/office/drawing/2014/main" val="10000"/>
                  </a:ext>
                </a:extLst>
              </a:tr>
              <a:tr h="3840450">
                <a:tc>
                  <a:txBody>
                    <a:bodyPr/>
                    <a:lstStyle/>
                    <a:p>
                      <a:pPr marL="0" lvl="0" indent="0" algn="l" rtl="0">
                        <a:lnSpc>
                          <a:spcPct val="100000"/>
                        </a:lnSpc>
                        <a:spcBef>
                          <a:spcPts val="0"/>
                        </a:spcBef>
                        <a:spcAft>
                          <a:spcPts val="0"/>
                        </a:spcAft>
                        <a:buNone/>
                      </a:pPr>
                      <a:r>
                        <a:rPr lang="en-US" sz="1100" b="1">
                          <a:solidFill>
                            <a:srgbClr val="00B050"/>
                          </a:solidFill>
                        </a:rPr>
                        <a:t>2. Impact Assessment</a:t>
                      </a:r>
                      <a:endParaRPr sz="1100"/>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EAD3"/>
                    </a:solidFill>
                  </a:tcPr>
                </a:tc>
                <a:tc>
                  <a:txBody>
                    <a:bodyPr/>
                    <a:lstStyle/>
                    <a:p>
                      <a:pPr marL="0" lvl="0" indent="0" algn="l" rtl="0">
                        <a:lnSpc>
                          <a:spcPct val="100000"/>
                        </a:lnSpc>
                        <a:spcBef>
                          <a:spcPts val="1200"/>
                        </a:spcBef>
                        <a:spcAft>
                          <a:spcPts val="0"/>
                        </a:spcAft>
                        <a:buNone/>
                      </a:pPr>
                      <a:r>
                        <a:rPr lang="en-US" sz="1100">
                          <a:solidFill>
                            <a:schemeClr val="dk1"/>
                          </a:solidFill>
                          <a:highlight>
                            <a:srgbClr val="D9EAD3"/>
                          </a:highlight>
                        </a:rPr>
                        <a:t>Sixteen (16) proposed revisions including:</a:t>
                      </a:r>
                      <a:endParaRPr sz="1100">
                        <a:solidFill>
                          <a:schemeClr val="dk1"/>
                        </a:solidFill>
                        <a:highlight>
                          <a:srgbClr val="D9EAD3"/>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3 revised definitions: 3.18.</a:t>
                      </a:r>
                      <a:r>
                        <a:rPr lang="en-US" sz="1100" b="1">
                          <a:solidFill>
                            <a:schemeClr val="dk1"/>
                          </a:solidFill>
                          <a:highlight>
                            <a:srgbClr val="D9EAD3"/>
                          </a:highlight>
                        </a:rPr>
                        <a:t> Legacy; </a:t>
                      </a:r>
                      <a:r>
                        <a:rPr lang="en-US" sz="1100">
                          <a:solidFill>
                            <a:schemeClr val="dk1"/>
                          </a:solidFill>
                          <a:highlight>
                            <a:srgbClr val="D9EAD3"/>
                          </a:highlight>
                        </a:rPr>
                        <a:t>3.19</a:t>
                      </a:r>
                      <a:r>
                        <a:rPr lang="en-US" sz="1100" b="1">
                          <a:solidFill>
                            <a:schemeClr val="dk1"/>
                          </a:solidFill>
                          <a:highlight>
                            <a:srgbClr val="D9EAD3"/>
                          </a:highlight>
                        </a:rPr>
                        <a:t> stewardship; </a:t>
                      </a:r>
                      <a:r>
                        <a:rPr lang="en-US" sz="1100">
                          <a:solidFill>
                            <a:schemeClr val="dk1"/>
                          </a:solidFill>
                          <a:highlight>
                            <a:srgbClr val="D9EAD3"/>
                          </a:highlight>
                        </a:rPr>
                        <a:t>3.42</a:t>
                      </a:r>
                      <a:r>
                        <a:rPr lang="en-US" sz="1100" b="1">
                          <a:solidFill>
                            <a:schemeClr val="dk1"/>
                          </a:solidFill>
                          <a:highlight>
                            <a:srgbClr val="D9EAD3"/>
                          </a:highlight>
                        </a:rPr>
                        <a:t> impact</a:t>
                      </a:r>
                      <a:endParaRPr sz="1100" b="1">
                        <a:solidFill>
                          <a:schemeClr val="dk1"/>
                        </a:solidFill>
                        <a:highlight>
                          <a:srgbClr val="D9EAD3"/>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2 new definitions: 3.43 </a:t>
                      </a:r>
                      <a:r>
                        <a:rPr lang="en-US" sz="1100" b="1">
                          <a:solidFill>
                            <a:schemeClr val="dk1"/>
                          </a:solidFill>
                          <a:highlight>
                            <a:srgbClr val="D9EAD3"/>
                          </a:highlight>
                        </a:rPr>
                        <a:t>Statement of Purpose</a:t>
                      </a:r>
                      <a:r>
                        <a:rPr lang="en-US" sz="1100">
                          <a:solidFill>
                            <a:schemeClr val="dk1"/>
                          </a:solidFill>
                          <a:highlight>
                            <a:srgbClr val="D9EAD3"/>
                          </a:highlight>
                        </a:rPr>
                        <a:t>; 3.44 </a:t>
                      </a:r>
                      <a:r>
                        <a:rPr lang="en-US" sz="1100" b="1">
                          <a:solidFill>
                            <a:schemeClr val="dk1"/>
                          </a:solidFill>
                          <a:highlight>
                            <a:srgbClr val="D9EAD3"/>
                          </a:highlight>
                        </a:rPr>
                        <a:t>Mission statement</a:t>
                      </a:r>
                      <a:r>
                        <a:rPr lang="en-US" sz="1100">
                          <a:solidFill>
                            <a:schemeClr val="dk1"/>
                          </a:solidFill>
                          <a:highlight>
                            <a:srgbClr val="D9EAD3"/>
                          </a:highlight>
                        </a:rPr>
                        <a:t>.</a:t>
                      </a:r>
                      <a:endParaRPr sz="1100">
                        <a:solidFill>
                          <a:schemeClr val="dk1"/>
                        </a:solidFill>
                        <a:highlight>
                          <a:srgbClr val="D9EAD3"/>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Impact integrated into: </a:t>
                      </a:r>
                      <a:endParaRPr sz="1100">
                        <a:solidFill>
                          <a:schemeClr val="dk1"/>
                        </a:solidFill>
                        <a:highlight>
                          <a:srgbClr val="D9EAD3"/>
                        </a:highlight>
                      </a:endParaRPr>
                    </a:p>
                    <a:p>
                      <a:pPr marL="914400" lvl="1" indent="-298450" algn="l" rtl="0">
                        <a:lnSpc>
                          <a:spcPct val="100000"/>
                        </a:lnSpc>
                        <a:spcBef>
                          <a:spcPts val="0"/>
                        </a:spcBef>
                        <a:spcAft>
                          <a:spcPts val="0"/>
                        </a:spcAft>
                        <a:buClr>
                          <a:schemeClr val="dk1"/>
                        </a:buClr>
                        <a:buSzPts val="1100"/>
                        <a:buChar char="○"/>
                      </a:pPr>
                      <a:r>
                        <a:rPr lang="en-US" sz="1100" b="1">
                          <a:solidFill>
                            <a:schemeClr val="dk1"/>
                          </a:solidFill>
                          <a:highlight>
                            <a:srgbClr val="D9EAD3"/>
                          </a:highlight>
                        </a:rPr>
                        <a:t>4.1. Understanding of the organization and its context; </a:t>
                      </a:r>
                      <a:endParaRPr sz="1100" b="1">
                        <a:solidFill>
                          <a:schemeClr val="dk1"/>
                        </a:solidFill>
                        <a:highlight>
                          <a:srgbClr val="D9EAD3"/>
                        </a:highlight>
                      </a:endParaRPr>
                    </a:p>
                    <a:p>
                      <a:pPr marL="914400" lvl="1" indent="-298450" algn="l" rtl="0">
                        <a:lnSpc>
                          <a:spcPct val="100000"/>
                        </a:lnSpc>
                        <a:spcBef>
                          <a:spcPts val="0"/>
                        </a:spcBef>
                        <a:spcAft>
                          <a:spcPts val="0"/>
                        </a:spcAft>
                        <a:buClr>
                          <a:schemeClr val="dk1"/>
                        </a:buClr>
                        <a:buSzPts val="1100"/>
                        <a:buChar char="○"/>
                      </a:pPr>
                      <a:r>
                        <a:rPr lang="en-US" sz="1100" b="1">
                          <a:solidFill>
                            <a:schemeClr val="dk1"/>
                          </a:solidFill>
                          <a:highlight>
                            <a:srgbClr val="D9EAD3"/>
                          </a:highlight>
                        </a:rPr>
                        <a:t>4.5 Sustainable development principles, statement of purpose and/or, mission and values; </a:t>
                      </a:r>
                      <a:endParaRPr sz="1100" b="1">
                        <a:solidFill>
                          <a:schemeClr val="dk1"/>
                        </a:solidFill>
                        <a:highlight>
                          <a:srgbClr val="D9EAD3"/>
                        </a:highlight>
                      </a:endParaRPr>
                    </a:p>
                    <a:p>
                      <a:pPr marL="914400" lvl="1"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5.2</a:t>
                      </a:r>
                      <a:r>
                        <a:rPr lang="en-US" sz="1100" b="1">
                          <a:solidFill>
                            <a:schemeClr val="dk1"/>
                          </a:solidFill>
                          <a:highlight>
                            <a:srgbClr val="D9EAD3"/>
                          </a:highlight>
                        </a:rPr>
                        <a:t> Policy.</a:t>
                      </a:r>
                      <a:endParaRPr sz="1100" b="1">
                        <a:solidFill>
                          <a:schemeClr val="dk1"/>
                        </a:solidFill>
                        <a:highlight>
                          <a:srgbClr val="D9EAD3"/>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To ensure accurate reporting of impact (i.e. to avoid greenwashing) 7.4</a:t>
                      </a:r>
                      <a:r>
                        <a:rPr lang="en-US" sz="1100" b="1">
                          <a:solidFill>
                            <a:schemeClr val="dk1"/>
                          </a:solidFill>
                          <a:highlight>
                            <a:srgbClr val="D9EAD3"/>
                          </a:highlight>
                        </a:rPr>
                        <a:t> Communication, </a:t>
                      </a:r>
                      <a:r>
                        <a:rPr lang="en-US" sz="1100">
                          <a:solidFill>
                            <a:schemeClr val="dk1"/>
                          </a:solidFill>
                          <a:highlight>
                            <a:srgbClr val="D9EAD3"/>
                          </a:highlight>
                        </a:rPr>
                        <a:t>added new: The communications shall include, where appropriate, the following: g) progress in relation to performance; [...] NOTE: To ensure responsible communication, attention must be taken to ensure that there is no communication made that may mislead the public on the real environmental quality and social positive impact of a product or a service or on the reality of an organization's sustainable development approach, regardless of how it is communicated.</a:t>
                      </a:r>
                      <a:endParaRPr sz="1100">
                        <a:solidFill>
                          <a:schemeClr val="dk1"/>
                        </a:solidFill>
                        <a:highlight>
                          <a:srgbClr val="D9EAD3"/>
                        </a:highlight>
                      </a:endParaRPr>
                    </a:p>
                    <a:p>
                      <a:pPr marL="457200" lvl="0" indent="-298450" algn="l" rtl="0">
                        <a:lnSpc>
                          <a:spcPct val="100000"/>
                        </a:lnSpc>
                        <a:spcBef>
                          <a:spcPts val="0"/>
                        </a:spcBef>
                        <a:spcAft>
                          <a:spcPts val="0"/>
                        </a:spcAft>
                        <a:buClr>
                          <a:schemeClr val="dk1"/>
                        </a:buClr>
                        <a:buSzPts val="1100"/>
                        <a:buChar char="●"/>
                      </a:pPr>
                      <a:r>
                        <a:rPr lang="en-US" sz="1100">
                          <a:solidFill>
                            <a:schemeClr val="dk1"/>
                          </a:solidFill>
                          <a:highlight>
                            <a:srgbClr val="D9EAD3"/>
                          </a:highlight>
                        </a:rPr>
                        <a:t>New </a:t>
                      </a:r>
                      <a:r>
                        <a:rPr lang="en-US" sz="1100" b="1">
                          <a:solidFill>
                            <a:schemeClr val="dk1"/>
                          </a:solidFill>
                          <a:highlight>
                            <a:srgbClr val="D9EAD3"/>
                          </a:highlight>
                        </a:rPr>
                        <a:t>Annex C.3 Guidelines on Reporting</a:t>
                      </a:r>
                      <a:r>
                        <a:rPr lang="en-US" sz="1100">
                          <a:solidFill>
                            <a:schemeClr val="dk1"/>
                          </a:solidFill>
                          <a:highlight>
                            <a:srgbClr val="D9EAD3"/>
                          </a:highlight>
                        </a:rPr>
                        <a:t>: If an organisation subscribes to a reporting regulation, it should report in compliance with it. Examples of international and regional reporting frameworks include (non-exclusively): the </a:t>
                      </a:r>
                      <a:r>
                        <a:rPr lang="en-US" sz="1100">
                          <a:solidFill>
                            <a:srgbClr val="202124"/>
                          </a:solidFill>
                          <a:highlight>
                            <a:srgbClr val="D9EAD3"/>
                          </a:highlight>
                        </a:rPr>
                        <a:t>GRI Sustainability Reporting Standards (GRI Standards),</a:t>
                      </a:r>
                      <a:r>
                        <a:rPr lang="en-US" sz="1100">
                          <a:solidFill>
                            <a:schemeClr val="dk1"/>
                          </a:solidFill>
                          <a:highlight>
                            <a:srgbClr val="D9EAD3"/>
                          </a:highlight>
                        </a:rPr>
                        <a:t> for GHG emissions, refer to the "Net Zero Carbon Events" initiative (hosted by the Joint Meetings Industry Council and supported by UNFCCC), the UN SDGs, the UN FCCC Sports for Climate Action Framework, the </a:t>
                      </a:r>
                      <a:r>
                        <a:rPr lang="en-US" sz="1100">
                          <a:solidFill>
                            <a:srgbClr val="202124"/>
                          </a:solidFill>
                          <a:highlight>
                            <a:srgbClr val="D9EAD3"/>
                          </a:highlight>
                        </a:rPr>
                        <a:t>European Sustainability Reporting Standards (ESRS). [...]</a:t>
                      </a:r>
                      <a:endParaRPr sz="1100">
                        <a:solidFill>
                          <a:srgbClr val="202124"/>
                        </a:solidFill>
                        <a:highlight>
                          <a:srgbClr val="D9EAD3"/>
                        </a:highlight>
                      </a:endParaRPr>
                    </a:p>
                    <a:p>
                      <a:pPr marL="457200" lvl="0" indent="0" algn="l" rtl="0">
                        <a:lnSpc>
                          <a:spcPct val="100000"/>
                        </a:lnSpc>
                        <a:spcBef>
                          <a:spcPts val="1200"/>
                        </a:spcBef>
                        <a:spcAft>
                          <a:spcPts val="1200"/>
                        </a:spcAft>
                        <a:buNone/>
                      </a:pPr>
                      <a:endParaRPr sz="1100">
                        <a:solidFill>
                          <a:schemeClr val="dk1"/>
                        </a:solidFill>
                        <a:highlight>
                          <a:srgbClr val="D9EAD3"/>
                        </a:highlight>
                      </a:endParaRPr>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EAD3"/>
                    </a:solidFill>
                  </a:tcPr>
                </a:tc>
                <a:extLst>
                  <a:ext uri="{0D108BD9-81ED-4DB2-BD59-A6C34878D82A}">
                    <a16:rowId xmlns:a16="http://schemas.microsoft.com/office/drawing/2014/main" val="10001"/>
                  </a:ext>
                </a:extLst>
              </a:tr>
            </a:tbl>
          </a:graphicData>
        </a:graphic>
      </p:graphicFrame>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2"/>
        <p:cNvGrpSpPr/>
        <p:nvPr/>
      </p:nvGrpSpPr>
      <p:grpSpPr>
        <a:xfrm>
          <a:off x="0" y="0"/>
          <a:ext cx="0" cy="0"/>
          <a:chOff x="0" y="0"/>
          <a:chExt cx="0" cy="0"/>
        </a:xfrm>
      </p:grpSpPr>
      <p:sp>
        <p:nvSpPr>
          <p:cNvPr id="103" name="Google Shape;103;g23f2d70337f_0_1055"/>
          <p:cNvSpPr txBox="1">
            <a:spLocks noGrp="1"/>
          </p:cNvSpPr>
          <p:nvPr>
            <p:ph type="title"/>
          </p:nvPr>
        </p:nvSpPr>
        <p:spPr>
          <a:xfrm>
            <a:off x="641350" y="544828"/>
            <a:ext cx="7861200" cy="7695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Clr>
                <a:schemeClr val="dk1"/>
              </a:buClr>
              <a:buSzPts val="2400"/>
              <a:buFont typeface="Arial"/>
              <a:buNone/>
            </a:pPr>
            <a:r>
              <a:rPr lang="en-US"/>
              <a:t>3 AXES ANALYSIS </a:t>
            </a:r>
            <a:endParaRPr/>
          </a:p>
        </p:txBody>
      </p:sp>
      <p:sp>
        <p:nvSpPr>
          <p:cNvPr id="104" name="Google Shape;104;g23f2d70337f_0_1055"/>
          <p:cNvSpPr txBox="1">
            <a:spLocks noGrp="1"/>
          </p:cNvSpPr>
          <p:nvPr>
            <p:ph type="ftr" idx="11"/>
          </p:nvPr>
        </p:nvSpPr>
        <p:spPr>
          <a:xfrm>
            <a:off x="641350" y="6506642"/>
            <a:ext cx="2442900" cy="12300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ISO/PC 250/WG1 ISO plenary   2023</a:t>
            </a:r>
            <a:endParaRPr kumimoji="0" sz="800" b="0" i="0" u="none" strike="noStrike" kern="1200" cap="none" spc="0" normalizeH="0" baseline="0" noProof="0">
              <a:ln>
                <a:noFill/>
              </a:ln>
              <a:solidFill>
                <a:srgbClr val="000000"/>
              </a:solidFill>
              <a:effectLst/>
              <a:uLnTx/>
              <a:uFillTx/>
              <a:latin typeface="Arial"/>
              <a:ea typeface="+mn-ea"/>
              <a:cs typeface="+mn-cs"/>
            </a:endParaRPr>
          </a:p>
        </p:txBody>
      </p:sp>
      <p:pic>
        <p:nvPicPr>
          <p:cNvPr id="105" name="Google Shape;105;g23f2d70337f_0_1055"/>
          <p:cNvPicPr preferRelativeResize="0"/>
          <p:nvPr/>
        </p:nvPicPr>
        <p:blipFill rotWithShape="1">
          <a:blip r:embed="rId3">
            <a:alphaModFix/>
          </a:blip>
          <a:srcRect/>
          <a:stretch/>
        </p:blipFill>
        <p:spPr>
          <a:xfrm>
            <a:off x="7611948" y="254397"/>
            <a:ext cx="807585" cy="807585"/>
          </a:xfrm>
          <a:prstGeom prst="rect">
            <a:avLst/>
          </a:prstGeom>
          <a:noFill/>
          <a:ln>
            <a:noFill/>
          </a:ln>
        </p:spPr>
      </p:pic>
      <p:sp>
        <p:nvSpPr>
          <p:cNvPr id="106" name="Google Shape;106;g23f2d70337f_0_1055"/>
          <p:cNvSpPr txBox="1"/>
          <p:nvPr/>
        </p:nvSpPr>
        <p:spPr>
          <a:xfrm>
            <a:off x="943725" y="5202125"/>
            <a:ext cx="4859700" cy="400200"/>
          </a:xfrm>
          <a:prstGeom prst="rect">
            <a:avLst/>
          </a:prstGeom>
          <a:noFill/>
          <a:ln>
            <a:noFill/>
          </a:ln>
        </p:spPr>
        <p:txBody>
          <a:bodyPr spcFirstLastPara="1" wrap="square" lIns="91425" tIns="91425" rIns="91425" bIns="91425"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82828"/>
              </a:solidFill>
              <a:effectLst/>
              <a:highlight>
                <a:srgbClr val="FFFFFF"/>
              </a:highlight>
              <a:uLnTx/>
              <a:uFillTx/>
              <a:latin typeface="Arial"/>
              <a:ea typeface="+mn-ea"/>
              <a:cs typeface="+mn-cs"/>
            </a:endParaRPr>
          </a:p>
        </p:txBody>
      </p:sp>
      <p:graphicFrame>
        <p:nvGraphicFramePr>
          <p:cNvPr id="107" name="Google Shape;107;g23f2d70337f_0_1055"/>
          <p:cNvGraphicFramePr/>
          <p:nvPr/>
        </p:nvGraphicFramePr>
        <p:xfrm>
          <a:off x="641350" y="1743075"/>
          <a:ext cx="7239000" cy="3173425"/>
        </p:xfrm>
        <a:graphic>
          <a:graphicData uri="http://schemas.openxmlformats.org/drawingml/2006/table">
            <a:tbl>
              <a:tblPr>
                <a:noFill/>
                <a:tableStyleId>{8D6B96F3-E438-4E6D-BC44-164D725B594E}</a:tableStyleId>
              </a:tblPr>
              <a:tblGrid>
                <a:gridCol w="1304925">
                  <a:extLst>
                    <a:ext uri="{9D8B030D-6E8A-4147-A177-3AD203B41FA5}">
                      <a16:colId xmlns:a16="http://schemas.microsoft.com/office/drawing/2014/main" val="20000"/>
                    </a:ext>
                  </a:extLst>
                </a:gridCol>
                <a:gridCol w="5934075">
                  <a:extLst>
                    <a:ext uri="{9D8B030D-6E8A-4147-A177-3AD203B41FA5}">
                      <a16:colId xmlns:a16="http://schemas.microsoft.com/office/drawing/2014/main" val="20001"/>
                    </a:ext>
                  </a:extLst>
                </a:gridCol>
              </a:tblGrid>
              <a:tr h="434300">
                <a:tc>
                  <a:txBody>
                    <a:bodyPr/>
                    <a:lstStyle/>
                    <a:p>
                      <a:pPr marL="0" lvl="0" indent="0" algn="l" rtl="0">
                        <a:lnSpc>
                          <a:spcPct val="115000"/>
                        </a:lnSpc>
                        <a:spcBef>
                          <a:spcPts val="1200"/>
                        </a:spcBef>
                        <a:spcAft>
                          <a:spcPts val="0"/>
                        </a:spcAft>
                        <a:buNone/>
                      </a:pPr>
                      <a:r>
                        <a:rPr lang="en-US" sz="1100" b="1"/>
                        <a:t>Axes of Analysis</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tc>
                  <a:txBody>
                    <a:bodyPr/>
                    <a:lstStyle/>
                    <a:p>
                      <a:pPr marL="0" lvl="0" indent="0" algn="l" rtl="0">
                        <a:lnSpc>
                          <a:spcPct val="115000"/>
                        </a:lnSpc>
                        <a:spcBef>
                          <a:spcPts val="1200"/>
                        </a:spcBef>
                        <a:spcAft>
                          <a:spcPts val="0"/>
                        </a:spcAft>
                        <a:buNone/>
                      </a:pPr>
                      <a:r>
                        <a:rPr lang="en-US" sz="1100" b="1"/>
                        <a:t>Revisions proposed</a:t>
                      </a:r>
                      <a:endParaRPr sz="1100" b="1"/>
                    </a:p>
                  </a:txBody>
                  <a:tcPr marL="68575" marR="68575" marT="91425" marB="91425">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FC5E8"/>
                    </a:solidFill>
                  </a:tcPr>
                </a:tc>
                <a:extLst>
                  <a:ext uri="{0D108BD9-81ED-4DB2-BD59-A6C34878D82A}">
                    <a16:rowId xmlns:a16="http://schemas.microsoft.com/office/drawing/2014/main" val="10000"/>
                  </a:ext>
                </a:extLst>
              </a:tr>
              <a:tr h="2739125">
                <a:tc>
                  <a:txBody>
                    <a:bodyPr/>
                    <a:lstStyle/>
                    <a:p>
                      <a:pPr marL="0" lvl="0" indent="0" algn="l" rtl="0">
                        <a:lnSpc>
                          <a:spcPct val="100000"/>
                        </a:lnSpc>
                        <a:spcBef>
                          <a:spcPts val="0"/>
                        </a:spcBef>
                        <a:spcAft>
                          <a:spcPts val="0"/>
                        </a:spcAft>
                        <a:buNone/>
                      </a:pPr>
                      <a:r>
                        <a:rPr lang="en-US" sz="1100" b="1">
                          <a:solidFill>
                            <a:srgbClr val="4A86E8"/>
                          </a:solidFill>
                          <a:highlight>
                            <a:srgbClr val="C9DAF8"/>
                          </a:highlight>
                        </a:rPr>
                        <a:t>3. User Accessibility</a:t>
                      </a:r>
                      <a:endParaRPr sz="1100">
                        <a:solidFill>
                          <a:srgbClr val="4A86E8"/>
                        </a:solidFill>
                        <a:highlight>
                          <a:srgbClr val="C9DAF8"/>
                        </a:highlight>
                      </a:endParaRPr>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9DAF8"/>
                    </a:solidFill>
                  </a:tcPr>
                </a:tc>
                <a:tc>
                  <a:txBody>
                    <a:bodyPr/>
                    <a:lstStyle/>
                    <a:p>
                      <a:pPr marL="0" lvl="0" indent="0" algn="l" rtl="0">
                        <a:lnSpc>
                          <a:spcPct val="115000"/>
                        </a:lnSpc>
                        <a:spcBef>
                          <a:spcPts val="1200"/>
                        </a:spcBef>
                        <a:spcAft>
                          <a:spcPts val="0"/>
                        </a:spcAft>
                        <a:buNone/>
                      </a:pPr>
                      <a:r>
                        <a:rPr lang="en-US" sz="1100">
                          <a:solidFill>
                            <a:schemeClr val="dk1"/>
                          </a:solidFill>
                          <a:highlight>
                            <a:srgbClr val="C9DAF8"/>
                          </a:highlight>
                        </a:rPr>
                        <a:t>Four (4) proposed revisions</a:t>
                      </a:r>
                      <a:endParaRPr sz="1100">
                        <a:solidFill>
                          <a:schemeClr val="dk1"/>
                        </a:solidFill>
                        <a:highlight>
                          <a:srgbClr val="C9DAF8"/>
                        </a:highlight>
                      </a:endParaRPr>
                    </a:p>
                    <a:p>
                      <a:pPr marL="457200" lvl="0" indent="-298450" algn="l" rtl="0">
                        <a:lnSpc>
                          <a:spcPct val="115000"/>
                        </a:lnSpc>
                        <a:spcBef>
                          <a:spcPts val="0"/>
                        </a:spcBef>
                        <a:spcAft>
                          <a:spcPts val="0"/>
                        </a:spcAft>
                        <a:buClr>
                          <a:schemeClr val="dk1"/>
                        </a:buClr>
                        <a:buSzPts val="1100"/>
                        <a:buChar char="●"/>
                      </a:pPr>
                      <a:r>
                        <a:rPr lang="en-US" sz="1100">
                          <a:solidFill>
                            <a:schemeClr val="dk1"/>
                          </a:solidFill>
                          <a:highlight>
                            <a:srgbClr val="C9DAF8"/>
                          </a:highlight>
                        </a:rPr>
                        <a:t>Definition of 3.7</a:t>
                      </a:r>
                      <a:r>
                        <a:rPr lang="en-US" sz="1100" b="1">
                          <a:solidFill>
                            <a:schemeClr val="dk1"/>
                          </a:solidFill>
                          <a:highlight>
                            <a:srgbClr val="C9DAF8"/>
                          </a:highlight>
                        </a:rPr>
                        <a:t> event </a:t>
                      </a:r>
                      <a:r>
                        <a:rPr lang="en-US" sz="1100">
                          <a:solidFill>
                            <a:schemeClr val="dk1"/>
                          </a:solidFill>
                          <a:highlight>
                            <a:srgbClr val="C9DAF8"/>
                          </a:highlight>
                        </a:rPr>
                        <a:t>includes </a:t>
                      </a:r>
                      <a:r>
                        <a:rPr lang="en-US" sz="1100" b="1">
                          <a:solidFill>
                            <a:schemeClr val="dk1"/>
                          </a:solidFill>
                          <a:highlight>
                            <a:srgbClr val="C9DAF8"/>
                          </a:highlight>
                        </a:rPr>
                        <a:t>‘</a:t>
                      </a:r>
                      <a:r>
                        <a:rPr lang="en-US" sz="1100">
                          <a:solidFill>
                            <a:schemeClr val="dk1"/>
                          </a:solidFill>
                          <a:highlight>
                            <a:srgbClr val="C9DAF8"/>
                          </a:highlight>
                        </a:rPr>
                        <a:t>planned physical, digital or hybrid</a:t>
                      </a:r>
                      <a:r>
                        <a:rPr lang="en-US" sz="1100" b="1">
                          <a:solidFill>
                            <a:schemeClr val="dk1"/>
                          </a:solidFill>
                          <a:highlight>
                            <a:srgbClr val="C9DAF8"/>
                          </a:highlight>
                        </a:rPr>
                        <a:t> </a:t>
                      </a:r>
                      <a:r>
                        <a:rPr lang="en-US" sz="1100">
                          <a:solidFill>
                            <a:schemeClr val="dk1"/>
                          </a:solidFill>
                          <a:highlight>
                            <a:srgbClr val="C9DAF8"/>
                          </a:highlight>
                        </a:rPr>
                        <a:t>gathering’</a:t>
                      </a:r>
                      <a:endParaRPr sz="1100">
                        <a:solidFill>
                          <a:schemeClr val="dk1"/>
                        </a:solidFill>
                        <a:highlight>
                          <a:srgbClr val="C9DAF8"/>
                        </a:highlight>
                      </a:endParaRPr>
                    </a:p>
                    <a:p>
                      <a:pPr marL="457200" lvl="0" indent="-298450" algn="just" rtl="0">
                        <a:lnSpc>
                          <a:spcPct val="115000"/>
                        </a:lnSpc>
                        <a:spcBef>
                          <a:spcPts val="0"/>
                        </a:spcBef>
                        <a:spcAft>
                          <a:spcPts val="0"/>
                        </a:spcAft>
                        <a:buClr>
                          <a:schemeClr val="dk1"/>
                        </a:buClr>
                        <a:buSzPts val="1100"/>
                        <a:buChar char="●"/>
                      </a:pPr>
                      <a:r>
                        <a:rPr lang="en-US" sz="1100">
                          <a:solidFill>
                            <a:schemeClr val="dk1"/>
                          </a:solidFill>
                          <a:highlight>
                            <a:srgbClr val="C9DAF8"/>
                          </a:highlight>
                        </a:rPr>
                        <a:t>Clarification of processes and documents required includes specification of the forms of engagement with interested parties (4.2): ‘</a:t>
                      </a:r>
                      <a:r>
                        <a:rPr lang="en-US" sz="1100" b="1">
                          <a:solidFill>
                            <a:schemeClr val="dk1"/>
                          </a:solidFill>
                          <a:highlight>
                            <a:srgbClr val="C9DAF8"/>
                          </a:highlight>
                        </a:rPr>
                        <a:t>engagement with interested parties </a:t>
                      </a:r>
                      <a:r>
                        <a:rPr lang="en-US" sz="1100">
                          <a:solidFill>
                            <a:schemeClr val="dk1"/>
                          </a:solidFill>
                          <a:highlight>
                            <a:srgbClr val="C9DAF8"/>
                          </a:highlight>
                        </a:rPr>
                        <a:t>may take different </a:t>
                      </a:r>
                      <a:r>
                        <a:rPr lang="en-US" sz="1100" b="1">
                          <a:solidFill>
                            <a:schemeClr val="dk1"/>
                          </a:solidFill>
                          <a:highlight>
                            <a:srgbClr val="C9DAF8"/>
                          </a:highlight>
                        </a:rPr>
                        <a:t>forms </a:t>
                      </a:r>
                      <a:r>
                        <a:rPr lang="en-US" sz="1100">
                          <a:solidFill>
                            <a:schemeClr val="dk1"/>
                          </a:solidFill>
                          <a:highlight>
                            <a:srgbClr val="C9DAF8"/>
                          </a:highlight>
                        </a:rPr>
                        <a:t>such as: verbal conversation, written correspondence, meetings, working groups, certification labels and Awards, progress plans’; that not all the system must be document (4.4) and the necessity of appropriate </a:t>
                      </a:r>
                      <a:r>
                        <a:rPr lang="en-US" sz="1100" b="1">
                          <a:solidFill>
                            <a:schemeClr val="dk1"/>
                          </a:solidFill>
                          <a:highlight>
                            <a:srgbClr val="C9DAF8"/>
                          </a:highlight>
                        </a:rPr>
                        <a:t>resources</a:t>
                      </a:r>
                      <a:r>
                        <a:rPr lang="en-US" sz="1100">
                          <a:solidFill>
                            <a:schemeClr val="dk1"/>
                          </a:solidFill>
                          <a:highlight>
                            <a:srgbClr val="C9DAF8"/>
                          </a:highlight>
                        </a:rPr>
                        <a:t> (7.1). </a:t>
                      </a:r>
                      <a:r>
                        <a:rPr lang="en-US" sz="1100" b="1">
                          <a:solidFill>
                            <a:schemeClr val="dk1"/>
                          </a:solidFill>
                          <a:highlight>
                            <a:srgbClr val="C9DAF8"/>
                          </a:highlight>
                        </a:rPr>
                        <a:t> </a:t>
                      </a:r>
                      <a:endParaRPr sz="1100" b="1">
                        <a:solidFill>
                          <a:schemeClr val="dk1"/>
                        </a:solidFill>
                        <a:highlight>
                          <a:srgbClr val="C9DAF8"/>
                        </a:highlight>
                      </a:endParaRPr>
                    </a:p>
                    <a:p>
                      <a:pPr marL="457200" lvl="0" indent="-298450" algn="l" rtl="0">
                        <a:spcBef>
                          <a:spcPts val="0"/>
                        </a:spcBef>
                        <a:spcAft>
                          <a:spcPts val="0"/>
                        </a:spcAft>
                        <a:buClr>
                          <a:schemeClr val="dk1"/>
                        </a:buClr>
                        <a:buSzPts val="1100"/>
                        <a:buChar char="●"/>
                      </a:pPr>
                      <a:r>
                        <a:rPr lang="en-US" sz="1100">
                          <a:solidFill>
                            <a:schemeClr val="dk1"/>
                          </a:solidFill>
                          <a:highlight>
                            <a:srgbClr val="C9DAF8"/>
                          </a:highlight>
                        </a:rPr>
                        <a:t>Revised </a:t>
                      </a:r>
                      <a:r>
                        <a:rPr lang="en-US" sz="1100" b="1">
                          <a:solidFill>
                            <a:schemeClr val="dk1"/>
                          </a:solidFill>
                          <a:highlight>
                            <a:srgbClr val="C9DAF8"/>
                          </a:highlight>
                        </a:rPr>
                        <a:t>Annex A.11 Legal </a:t>
                      </a:r>
                      <a:r>
                        <a:rPr lang="en-US" sz="1100">
                          <a:solidFill>
                            <a:schemeClr val="dk1"/>
                          </a:solidFill>
                          <a:highlight>
                            <a:srgbClr val="C9DAF8"/>
                          </a:highlight>
                        </a:rPr>
                        <a:t>and other requirements for </a:t>
                      </a:r>
                      <a:r>
                        <a:rPr lang="en-US" sz="1100" b="1">
                          <a:solidFill>
                            <a:schemeClr val="dk1"/>
                          </a:solidFill>
                          <a:highlight>
                            <a:srgbClr val="C9DAF8"/>
                          </a:highlight>
                        </a:rPr>
                        <a:t>inspiration and good practice </a:t>
                      </a:r>
                      <a:r>
                        <a:rPr lang="en-US" sz="1100">
                          <a:solidFill>
                            <a:schemeClr val="dk1"/>
                          </a:solidFill>
                          <a:highlight>
                            <a:srgbClr val="C9DAF8"/>
                          </a:highlight>
                        </a:rPr>
                        <a:t>(see Axe 1)</a:t>
                      </a:r>
                      <a:endParaRPr sz="1100">
                        <a:solidFill>
                          <a:schemeClr val="dk1"/>
                        </a:solidFill>
                        <a:highlight>
                          <a:srgbClr val="C9DAF8"/>
                        </a:highlight>
                      </a:endParaRPr>
                    </a:p>
                    <a:p>
                      <a:pPr marL="457200" lvl="0" indent="-298450" algn="just" rtl="0">
                        <a:lnSpc>
                          <a:spcPct val="115000"/>
                        </a:lnSpc>
                        <a:spcBef>
                          <a:spcPts val="0"/>
                        </a:spcBef>
                        <a:spcAft>
                          <a:spcPts val="0"/>
                        </a:spcAft>
                        <a:buClr>
                          <a:schemeClr val="dk1"/>
                        </a:buClr>
                        <a:buSzPts val="1100"/>
                        <a:buChar char="●"/>
                      </a:pPr>
                      <a:r>
                        <a:rPr lang="en-US" sz="1100">
                          <a:solidFill>
                            <a:schemeClr val="dk1"/>
                          </a:solidFill>
                          <a:highlight>
                            <a:srgbClr val="C9DAF8"/>
                          </a:highlight>
                        </a:rPr>
                        <a:t>Clarifications related to the </a:t>
                      </a:r>
                      <a:r>
                        <a:rPr lang="en-US" sz="1100" b="1">
                          <a:solidFill>
                            <a:schemeClr val="dk1"/>
                          </a:solidFill>
                          <a:highlight>
                            <a:srgbClr val="C9DAF8"/>
                          </a:highlight>
                        </a:rPr>
                        <a:t>Audit process</a:t>
                      </a:r>
                      <a:r>
                        <a:rPr lang="en-US" sz="1100">
                          <a:solidFill>
                            <a:schemeClr val="dk1"/>
                          </a:solidFill>
                          <a:highlight>
                            <a:srgbClr val="C9DAF8"/>
                          </a:highlight>
                        </a:rPr>
                        <a:t> of the norm (principally section 9) will be dealt with by a Conformity Task Force led by the Swiss.</a:t>
                      </a:r>
                      <a:endParaRPr sz="1100">
                        <a:solidFill>
                          <a:schemeClr val="dk1"/>
                        </a:solidFill>
                        <a:highlight>
                          <a:srgbClr val="C9DAF8"/>
                        </a:highlight>
                      </a:endParaRPr>
                    </a:p>
                  </a:txBody>
                  <a:tcPr marL="91425" marR="91425" marT="91425" marB="91425">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9DAF8"/>
                    </a:solidFill>
                  </a:tcPr>
                </a:tc>
                <a:extLst>
                  <a:ext uri="{0D108BD9-81ED-4DB2-BD59-A6C34878D82A}">
                    <a16:rowId xmlns:a16="http://schemas.microsoft.com/office/drawing/2014/main" val="10001"/>
                  </a:ext>
                </a:extLst>
              </a:tr>
            </a:tbl>
          </a:graphicData>
        </a:graphic>
      </p:graphicFrame>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NOR Jaune">
  <a:themeElements>
    <a:clrScheme name="Personnalisée 41">
      <a:dk1>
        <a:srgbClr val="000000"/>
      </a:dk1>
      <a:lt1>
        <a:srgbClr val="FFFFFF"/>
      </a:lt1>
      <a:dk2>
        <a:srgbClr val="BEBEBE"/>
      </a:dk2>
      <a:lt2>
        <a:srgbClr val="EFEFEF"/>
      </a:lt2>
      <a:accent1>
        <a:srgbClr val="00B1EB"/>
      </a:accent1>
      <a:accent2>
        <a:srgbClr val="58B03E"/>
      </a:accent2>
      <a:accent3>
        <a:srgbClr val="FFE030"/>
      </a:accent3>
      <a:accent4>
        <a:srgbClr val="595959"/>
      </a:accent4>
      <a:accent5>
        <a:srgbClr val="7F7F7F"/>
      </a:accent5>
      <a:accent6>
        <a:srgbClr val="BFBFBF"/>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FNOR Jaune">
  <a:themeElements>
    <a:clrScheme name="Personnalisée 41">
      <a:dk1>
        <a:srgbClr val="000000"/>
      </a:dk1>
      <a:lt1>
        <a:srgbClr val="FFFFFF"/>
      </a:lt1>
      <a:dk2>
        <a:srgbClr val="BEBEBE"/>
      </a:dk2>
      <a:lt2>
        <a:srgbClr val="EFEFEF"/>
      </a:lt2>
      <a:accent1>
        <a:srgbClr val="00B1EB"/>
      </a:accent1>
      <a:accent2>
        <a:srgbClr val="58B03E"/>
      </a:accent2>
      <a:accent3>
        <a:srgbClr val="FFE030"/>
      </a:accent3>
      <a:accent4>
        <a:srgbClr val="595959"/>
      </a:accent4>
      <a:accent5>
        <a:srgbClr val="7F7F7F"/>
      </a:accent5>
      <a:accent6>
        <a:srgbClr val="BFBFBF"/>
      </a:accent6>
      <a:hlink>
        <a:srgbClr val="0000FF"/>
      </a:hlink>
      <a:folHlink>
        <a:srgbClr val="800080"/>
      </a:folHlink>
    </a:clrScheme>
    <a:fontScheme name="ANF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abarit PPT UAN bleu.pptx" id="{ED3781BF-9BBA-4F05-BE3C-CECD81A9E30F}" vid="{B970B0A9-FC9A-48B8-81E8-39B848EDC3BB}"/>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798BA916F529947AB24787BA75E56B1" ma:contentTypeVersion="15" ma:contentTypeDescription="Create a new document." ma:contentTypeScope="" ma:versionID="a28eb78c9ef6ff672217e61586dd6464">
  <xsd:schema xmlns:xsd="http://www.w3.org/2001/XMLSchema" xmlns:xs="http://www.w3.org/2001/XMLSchema" xmlns:p="http://schemas.microsoft.com/office/2006/metadata/properties" xmlns:ns2="e264a0c7-3200-4c84-a6e5-b17b0bb53b3d" xmlns:ns3="aad35ba3-e79f-428b-a91d-149e74a743b5" targetNamespace="http://schemas.microsoft.com/office/2006/metadata/properties" ma:root="true" ma:fieldsID="d5fe747425811803c4844f9f8be51144" ns2:_="" ns3:_="">
    <xsd:import namespace="e264a0c7-3200-4c84-a6e5-b17b0bb53b3d"/>
    <xsd:import namespace="aad35ba3-e79f-428b-a91d-149e74a743b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3:TaxCatchAll" minOccurs="0"/>
                <xsd:element ref="ns2:MediaServiceGenerationTime" minOccurs="0"/>
                <xsd:element ref="ns2:MediaServiceEventHashCode" minOccurs="0"/>
                <xsd:element ref="ns2:lcf76f155ced4ddcb4097134ff3c332f"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64a0c7-3200-4c84-a6e5-b17b0bb53b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1be09c68-547f-45d7-9b9d-349757ff374c"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d35ba3-e79f-428b-a91d-149e74a743b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a73d867b-d749-49d2-b37b-b12abeaa3458}" ma:internalName="TaxCatchAll" ma:showField="CatchAllData" ma:web="aad35ba3-e79f-428b-a91d-149e74a743b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264a0c7-3200-4c84-a6e5-b17b0bb53b3d">
      <Terms xmlns="http://schemas.microsoft.com/office/infopath/2007/PartnerControls"/>
    </lcf76f155ced4ddcb4097134ff3c332f>
    <TaxCatchAll xmlns="aad35ba3-e79f-428b-a91d-149e74a743b5" xsi:nil="true"/>
  </documentManagement>
</p:properties>
</file>

<file path=customXml/itemProps1.xml><?xml version="1.0" encoding="utf-8"?>
<ds:datastoreItem xmlns:ds="http://schemas.openxmlformats.org/officeDocument/2006/customXml" ds:itemID="{FDB36090-2F06-4E93-8924-6A6E505842EC}"/>
</file>

<file path=customXml/itemProps2.xml><?xml version="1.0" encoding="utf-8"?>
<ds:datastoreItem xmlns:ds="http://schemas.openxmlformats.org/officeDocument/2006/customXml" ds:itemID="{4AD936F4-6322-4740-A800-A3C21E42F3A2}"/>
</file>

<file path=customXml/itemProps3.xml><?xml version="1.0" encoding="utf-8"?>
<ds:datastoreItem xmlns:ds="http://schemas.openxmlformats.org/officeDocument/2006/customXml" ds:itemID="{B5B84570-47D1-415B-BBAF-8CB3522747BE}"/>
</file>

<file path=docProps/app.xml><?xml version="1.0" encoding="utf-8"?>
<Properties xmlns="http://schemas.openxmlformats.org/officeDocument/2006/extended-properties" xmlns:vt="http://schemas.openxmlformats.org/officeDocument/2006/docPropsVTypes">
  <TotalTime>64</TotalTime>
  <Words>6250</Words>
  <Application>Microsoft Office PowerPoint</Application>
  <PresentationFormat>Affichage à l'écran (4:3)</PresentationFormat>
  <Paragraphs>471</Paragraphs>
  <Slides>30</Slides>
  <Notes>25</Notes>
  <HiddenSlides>5</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30</vt:i4>
      </vt:variant>
    </vt:vector>
  </HeadingPairs>
  <TitlesOfParts>
    <vt:vector size="40" baseType="lpstr">
      <vt:lpstr>Arial</vt:lpstr>
      <vt:lpstr>Arial Black</vt:lpstr>
      <vt:lpstr>Calibri</vt:lpstr>
      <vt:lpstr>Cambria</vt:lpstr>
      <vt:lpstr>Noto Sans Symbols</vt:lpstr>
      <vt:lpstr>Wingdings</vt:lpstr>
      <vt:lpstr>Wingdings 2</vt:lpstr>
      <vt:lpstr>AFNOR Jaune</vt:lpstr>
      <vt:lpstr>1_AFNOR Jaune</vt:lpstr>
      <vt:lpstr>think-cell Slide</vt:lpstr>
      <vt:lpstr>ISO 20121 revision  DIS period  </vt:lpstr>
      <vt:lpstr>Présentation PowerPoint</vt:lpstr>
      <vt:lpstr>Présentation PowerPoint</vt:lpstr>
      <vt:lpstr>ISO/PC 250/WG 1 – 3 THEMATIC AXES</vt:lpstr>
      <vt:lpstr>UNDERSTAND HOW THE WD HAS BEEN BUILT </vt:lpstr>
      <vt:lpstr>HOW THE 3 AXIS HAS BEEN ADRESSED DURING WG WORKING SESSIONS ? </vt:lpstr>
      <vt:lpstr>3 AXES ANALYSIS </vt:lpstr>
      <vt:lpstr>3 AXES ANALYSIS </vt:lpstr>
      <vt:lpstr>3 AXES ANALYSIS </vt:lpstr>
      <vt:lpstr>APPENDIX</vt:lpstr>
      <vt:lpstr>DETAILS OF THE ANALYSIS</vt:lpstr>
      <vt:lpstr>Axis 1 : Global Sustainability Frameworks </vt:lpstr>
      <vt:lpstr>Axis 1 : Global Sustainability Frameworks </vt:lpstr>
      <vt:lpstr>Axis 1 : Global Sustainability Frameworks </vt:lpstr>
      <vt:lpstr>Axis 1 : Global Sustainability Frameworks </vt:lpstr>
      <vt:lpstr>Axis 2 : Impact Assessment </vt:lpstr>
      <vt:lpstr>Axis 2 : Impact Assessment </vt:lpstr>
      <vt:lpstr>Axis 2 : Impact Assessment  </vt:lpstr>
      <vt:lpstr>Axis 2 : Impact Assessment  </vt:lpstr>
      <vt:lpstr>Axis 2 : Impact Assessment  </vt:lpstr>
      <vt:lpstr>Axis 2 : Impact Assessment  </vt:lpstr>
      <vt:lpstr>Axis 2 : Impact Assessment  </vt:lpstr>
      <vt:lpstr>Axis 3 : User accessibility</vt:lpstr>
      <vt:lpstr>Axis 3 : User accessibility </vt:lpstr>
      <vt:lpstr>Axis 3 : User accessibility </vt:lpstr>
      <vt:lpstr>Axis 4 : Continual Improvement facilitation (audits)</vt:lpstr>
      <vt:lpstr>ISO/PC 250/WG 1</vt:lpstr>
      <vt:lpstr>ISO/PC 250/WG 1</vt:lpstr>
      <vt:lpstr>ISO/PC 250/WG 1</vt:lpstr>
      <vt:lpstr>ISO/PC 250/WG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O/PC 250/WG 1 – 3 THEMATIC AXES</dc:title>
  <dc:creator>brunet nathalie</dc:creator>
  <cp:lastModifiedBy>Romain Riboud</cp:lastModifiedBy>
  <cp:revision>1</cp:revision>
  <dcterms:created xsi:type="dcterms:W3CDTF">2019-09-13T06:11:11Z</dcterms:created>
  <dcterms:modified xsi:type="dcterms:W3CDTF">2023-05-09T15:2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798BA916F529947AB24787BA75E56B1</vt:lpwstr>
  </property>
  <property fmtid="{D5CDD505-2E9C-101B-9397-08002B2CF9AE}" pid="3" name="MSIP_Label_fa0a176c-03b7-4548-a138-f385fded9173_Enabled">
    <vt:lpwstr>true</vt:lpwstr>
  </property>
  <property fmtid="{D5CDD505-2E9C-101B-9397-08002B2CF9AE}" pid="4" name="MSIP_Label_fa0a176c-03b7-4548-a138-f385fded9173_SetDate">
    <vt:lpwstr>2023-05-09T14:23:11Z</vt:lpwstr>
  </property>
  <property fmtid="{D5CDD505-2E9C-101B-9397-08002B2CF9AE}" pid="5" name="MSIP_Label_fa0a176c-03b7-4548-a138-f385fded9173_Method">
    <vt:lpwstr>Standard</vt:lpwstr>
  </property>
  <property fmtid="{D5CDD505-2E9C-101B-9397-08002B2CF9AE}" pid="6" name="MSIP_Label_fa0a176c-03b7-4548-a138-f385fded9173_Name">
    <vt:lpwstr>INTERNAL</vt:lpwstr>
  </property>
  <property fmtid="{D5CDD505-2E9C-101B-9397-08002B2CF9AE}" pid="7" name="MSIP_Label_fa0a176c-03b7-4548-a138-f385fded9173_SiteId">
    <vt:lpwstr>c09ce228-0328-4790-badb-51649a00a51c</vt:lpwstr>
  </property>
  <property fmtid="{D5CDD505-2E9C-101B-9397-08002B2CF9AE}" pid="8" name="MSIP_Label_fa0a176c-03b7-4548-a138-f385fded9173_ActionId">
    <vt:lpwstr>76c16eef-5cbb-461c-8664-6e68675997b6</vt:lpwstr>
  </property>
  <property fmtid="{D5CDD505-2E9C-101B-9397-08002B2CF9AE}" pid="9" name="MSIP_Label_fa0a176c-03b7-4548-a138-f385fded9173_ContentBits">
    <vt:lpwstr>3</vt:lpwstr>
  </property>
</Properties>
</file>